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notesSlides/notesSlide1.xml" ContentType="application/vnd.openxmlformats-officedocument.presentationml.notesSlide+xml"/>
  <Override PartName="/ppt/tags/tag20.xml" ContentType="application/vnd.openxmlformats-officedocument.presentationml.tags+xml"/>
  <Override PartName="/ppt/notesSlides/notesSlide2.xml" ContentType="application/vnd.openxmlformats-officedocument.presentationml.notesSlide+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notesSlides/notesSlide3.xml" ContentType="application/vnd.openxmlformats-officedocument.presentationml.notesSlide+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25"/>
  </p:notesMasterIdLst>
  <p:handoutMasterIdLst>
    <p:handoutMasterId r:id="rId26"/>
  </p:handoutMasterIdLst>
  <p:sldIdLst>
    <p:sldId id="295" r:id="rId2"/>
    <p:sldId id="296" r:id="rId3"/>
    <p:sldId id="297" r:id="rId4"/>
    <p:sldId id="288" r:id="rId5"/>
    <p:sldId id="274" r:id="rId6"/>
    <p:sldId id="291" r:id="rId7"/>
    <p:sldId id="275" r:id="rId8"/>
    <p:sldId id="292" r:id="rId9"/>
    <p:sldId id="276" r:id="rId10"/>
    <p:sldId id="277" r:id="rId11"/>
    <p:sldId id="278" r:id="rId12"/>
    <p:sldId id="279" r:id="rId13"/>
    <p:sldId id="280" r:id="rId14"/>
    <p:sldId id="294" r:id="rId15"/>
    <p:sldId id="281" r:id="rId16"/>
    <p:sldId id="282" r:id="rId17"/>
    <p:sldId id="283" r:id="rId18"/>
    <p:sldId id="284" r:id="rId19"/>
    <p:sldId id="285" r:id="rId20"/>
    <p:sldId id="290" r:id="rId21"/>
    <p:sldId id="286" r:id="rId22"/>
    <p:sldId id="289" r:id="rId23"/>
    <p:sldId id="293" r:id="rId24"/>
  </p:sldIdLst>
  <p:sldSz cx="12192000" cy="6858000"/>
  <p:notesSz cx="6797675" cy="9872663"/>
  <p:custDataLst>
    <p:tags r:id="rId27"/>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8C759A55-8C77-4844-BB7D-773466845227}" v="3" dt="2021-05-12T09:21:36.252"/>
  </p1510:revLst>
</p1510:revInfo>
</file>

<file path=ppt/tableStyles.xml><?xml version="1.0" encoding="utf-8"?>
<a:tblStyleLst xmlns:a="http://schemas.openxmlformats.org/drawingml/2006/main" def="{5C22544A-7EE6-4342-B048-85BDC9FD1C3A}">
  <a:tblStyle styleId="{073A0DAA-6AF3-43AB-8588-CEC1D06C72B9}" styleName="Mittlere Formatvorlag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77" d="100"/>
          <a:sy n="77" d="100"/>
        </p:scale>
        <p:origin x="883" y="58"/>
      </p:cViewPr>
      <p:guideLst>
        <p:guide orient="horz" pos="2160"/>
        <p:guide pos="3840"/>
      </p:guideLst>
    </p:cSldViewPr>
  </p:slideViewPr>
  <p:notesTextViewPr>
    <p:cViewPr>
      <p:scale>
        <a:sx n="1" d="1"/>
        <a:sy n="1" d="1"/>
      </p:scale>
      <p:origin x="0" y="0"/>
    </p:cViewPr>
  </p:notesTextViewPr>
  <p:notesViewPr>
    <p:cSldViewPr snapToGrid="0" showGuides="1">
      <p:cViewPr varScale="1">
        <p:scale>
          <a:sx n="83" d="100"/>
          <a:sy n="83" d="100"/>
        </p:scale>
        <p:origin x="3930" y="96"/>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handoutMaster" Target="handoutMasters/handoutMaster1.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notesMaster" Target="notesMasters/notesMaster1.xml"/><Relationship Id="rId33" Type="http://schemas.microsoft.com/office/2015/10/relationships/revisionInfo" Target="revisionInfo.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microsoft.com/office/2016/11/relationships/changesInfo" Target="changesInfos/changesInfo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presProps" Target="presProp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tags" Target="tags/tag1.xml"/><Relationship Id="rId30" Type="http://schemas.openxmlformats.org/officeDocument/2006/relationships/theme" Target="theme/theme1.xml"/><Relationship Id="rId8" Type="http://schemas.openxmlformats.org/officeDocument/2006/relationships/slide" Target="slides/slide7.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Frederick King" userId="bb732f183fe92d5e" providerId="LiveId" clId="{E2DCD61D-DC7A-4FDD-B312-815DCBE91D61}"/>
    <pc:docChg chg="undo redo custSel addSld delSld modSld modMainMaster">
      <pc:chgData name="Frederick King" userId="bb732f183fe92d5e" providerId="LiveId" clId="{E2DCD61D-DC7A-4FDD-B312-815DCBE91D61}" dt="2021-01-14T13:55:21.229" v="8847" actId="20577"/>
      <pc:docMkLst>
        <pc:docMk/>
      </pc:docMkLst>
      <pc:sldChg chg="del">
        <pc:chgData name="Frederick King" userId="bb732f183fe92d5e" providerId="LiveId" clId="{E2DCD61D-DC7A-4FDD-B312-815DCBE91D61}" dt="2021-01-11T13:13:54.955" v="3" actId="47"/>
        <pc:sldMkLst>
          <pc:docMk/>
          <pc:sldMk cId="1302234133" sldId="256"/>
        </pc:sldMkLst>
      </pc:sldChg>
      <pc:sldChg chg="del">
        <pc:chgData name="Frederick King" userId="bb732f183fe92d5e" providerId="LiveId" clId="{E2DCD61D-DC7A-4FDD-B312-815DCBE91D61}" dt="2021-01-11T13:14:15.567" v="12" actId="47"/>
        <pc:sldMkLst>
          <pc:docMk/>
          <pc:sldMk cId="3990470795" sldId="257"/>
        </pc:sldMkLst>
      </pc:sldChg>
      <pc:sldChg chg="delSp modSp del mod">
        <pc:chgData name="Frederick King" userId="bb732f183fe92d5e" providerId="LiveId" clId="{E2DCD61D-DC7A-4FDD-B312-815DCBE91D61}" dt="2021-01-11T13:14:11.075" v="11" actId="47"/>
        <pc:sldMkLst>
          <pc:docMk/>
          <pc:sldMk cId="3891569657" sldId="258"/>
        </pc:sldMkLst>
        <pc:spChg chg="del">
          <ac:chgData name="Frederick King" userId="bb732f183fe92d5e" providerId="LiveId" clId="{E2DCD61D-DC7A-4FDD-B312-815DCBE91D61}" dt="2021-01-11T13:13:57.723" v="4" actId="478"/>
          <ac:spMkLst>
            <pc:docMk/>
            <pc:sldMk cId="3891569657" sldId="258"/>
            <ac:spMk id="16" creationId="{A25988EE-B6AA-4CA4-952C-3D0CFA45D7E6}"/>
          </ac:spMkLst>
        </pc:spChg>
        <pc:spChg chg="del">
          <ac:chgData name="Frederick King" userId="bb732f183fe92d5e" providerId="LiveId" clId="{E2DCD61D-DC7A-4FDD-B312-815DCBE91D61}" dt="2021-01-11T13:14:00.778" v="7" actId="478"/>
          <ac:spMkLst>
            <pc:docMk/>
            <pc:sldMk cId="3891569657" sldId="258"/>
            <ac:spMk id="19" creationId="{CF8BE551-C8BB-4EB5-85C5-A9B8AB92CE32}"/>
          </ac:spMkLst>
        </pc:spChg>
        <pc:spChg chg="del mod">
          <ac:chgData name="Frederick King" userId="bb732f183fe92d5e" providerId="LiveId" clId="{E2DCD61D-DC7A-4FDD-B312-815DCBE91D61}" dt="2021-01-11T13:13:59.242" v="6" actId="478"/>
          <ac:spMkLst>
            <pc:docMk/>
            <pc:sldMk cId="3891569657" sldId="258"/>
            <ac:spMk id="20" creationId="{E8CEB9F4-3B04-4B18-B43A-C94B963F0073}"/>
          </ac:spMkLst>
        </pc:spChg>
        <pc:grpChg chg="del">
          <ac:chgData name="Frederick King" userId="bb732f183fe92d5e" providerId="LiveId" clId="{E2DCD61D-DC7A-4FDD-B312-815DCBE91D61}" dt="2021-01-11T13:13:57.723" v="4" actId="478"/>
          <ac:grpSpMkLst>
            <pc:docMk/>
            <pc:sldMk cId="3891569657" sldId="258"/>
            <ac:grpSpMk id="9" creationId="{2C602485-7668-494F-A5EB-88C4192427A6}"/>
          </ac:grpSpMkLst>
        </pc:grpChg>
        <pc:grpChg chg="del">
          <ac:chgData name="Frederick King" userId="bb732f183fe92d5e" providerId="LiveId" clId="{E2DCD61D-DC7A-4FDD-B312-815DCBE91D61}" dt="2021-01-11T13:13:57.723" v="4" actId="478"/>
          <ac:grpSpMkLst>
            <pc:docMk/>
            <pc:sldMk cId="3891569657" sldId="258"/>
            <ac:grpSpMk id="10" creationId="{E9E00782-E026-4D54-A491-1D56EB6F6683}"/>
          </ac:grpSpMkLst>
        </pc:grpChg>
        <pc:grpChg chg="del">
          <ac:chgData name="Frederick King" userId="bb732f183fe92d5e" providerId="LiveId" clId="{E2DCD61D-DC7A-4FDD-B312-815DCBE91D61}" dt="2021-01-11T13:13:57.723" v="4" actId="478"/>
          <ac:grpSpMkLst>
            <pc:docMk/>
            <pc:sldMk cId="3891569657" sldId="258"/>
            <ac:grpSpMk id="13" creationId="{E298A266-82D8-4EE2-A338-2E7E2FDBBF1A}"/>
          </ac:grpSpMkLst>
        </pc:grpChg>
        <pc:grpChg chg="del">
          <ac:chgData name="Frederick King" userId="bb732f183fe92d5e" providerId="LiveId" clId="{E2DCD61D-DC7A-4FDD-B312-815DCBE91D61}" dt="2021-01-11T13:13:57.723" v="4" actId="478"/>
          <ac:grpSpMkLst>
            <pc:docMk/>
            <pc:sldMk cId="3891569657" sldId="258"/>
            <ac:grpSpMk id="23" creationId="{EE50A98C-AE07-4FF2-8C06-CB0A3F49813E}"/>
          </ac:grpSpMkLst>
        </pc:grpChg>
        <pc:grpChg chg="del">
          <ac:chgData name="Frederick King" userId="bb732f183fe92d5e" providerId="LiveId" clId="{E2DCD61D-DC7A-4FDD-B312-815DCBE91D61}" dt="2021-01-11T13:13:57.723" v="4" actId="478"/>
          <ac:grpSpMkLst>
            <pc:docMk/>
            <pc:sldMk cId="3891569657" sldId="258"/>
            <ac:grpSpMk id="35" creationId="{1A2F4E13-8BEC-457F-A719-F473CBAF097D}"/>
          </ac:grpSpMkLst>
        </pc:grpChg>
      </pc:sldChg>
      <pc:sldChg chg="del">
        <pc:chgData name="Frederick King" userId="bb732f183fe92d5e" providerId="LiveId" clId="{E2DCD61D-DC7A-4FDD-B312-815DCBE91D61}" dt="2021-01-11T13:14:15.567" v="12" actId="47"/>
        <pc:sldMkLst>
          <pc:docMk/>
          <pc:sldMk cId="3638365588" sldId="259"/>
        </pc:sldMkLst>
      </pc:sldChg>
      <pc:sldChg chg="del">
        <pc:chgData name="Frederick King" userId="bb732f183fe92d5e" providerId="LiveId" clId="{E2DCD61D-DC7A-4FDD-B312-815DCBE91D61}" dt="2021-01-11T13:14:15.567" v="12" actId="47"/>
        <pc:sldMkLst>
          <pc:docMk/>
          <pc:sldMk cId="3293695402" sldId="262"/>
        </pc:sldMkLst>
      </pc:sldChg>
      <pc:sldChg chg="del">
        <pc:chgData name="Frederick King" userId="bb732f183fe92d5e" providerId="LiveId" clId="{E2DCD61D-DC7A-4FDD-B312-815DCBE91D61}" dt="2021-01-11T13:13:52.528" v="2" actId="47"/>
        <pc:sldMkLst>
          <pc:docMk/>
          <pc:sldMk cId="587578823" sldId="264"/>
        </pc:sldMkLst>
      </pc:sldChg>
      <pc:sldChg chg="del">
        <pc:chgData name="Frederick King" userId="bb732f183fe92d5e" providerId="LiveId" clId="{E2DCD61D-DC7A-4FDD-B312-815DCBE91D61}" dt="2021-01-11T13:14:15.567" v="12" actId="47"/>
        <pc:sldMkLst>
          <pc:docMk/>
          <pc:sldMk cId="2055742257" sldId="265"/>
        </pc:sldMkLst>
      </pc:sldChg>
      <pc:sldChg chg="del">
        <pc:chgData name="Frederick King" userId="bb732f183fe92d5e" providerId="LiveId" clId="{E2DCD61D-DC7A-4FDD-B312-815DCBE91D61}" dt="2021-01-11T13:14:15.567" v="12" actId="47"/>
        <pc:sldMkLst>
          <pc:docMk/>
          <pc:sldMk cId="1420501247" sldId="266"/>
        </pc:sldMkLst>
      </pc:sldChg>
      <pc:sldChg chg="del">
        <pc:chgData name="Frederick King" userId="bb732f183fe92d5e" providerId="LiveId" clId="{E2DCD61D-DC7A-4FDD-B312-815DCBE91D61}" dt="2021-01-11T13:14:15.567" v="12" actId="47"/>
        <pc:sldMkLst>
          <pc:docMk/>
          <pc:sldMk cId="2030837911" sldId="267"/>
        </pc:sldMkLst>
      </pc:sldChg>
      <pc:sldChg chg="del">
        <pc:chgData name="Frederick King" userId="bb732f183fe92d5e" providerId="LiveId" clId="{E2DCD61D-DC7A-4FDD-B312-815DCBE91D61}" dt="2021-01-11T13:14:15.567" v="12" actId="47"/>
        <pc:sldMkLst>
          <pc:docMk/>
          <pc:sldMk cId="3109751073" sldId="268"/>
        </pc:sldMkLst>
      </pc:sldChg>
      <pc:sldChg chg="del">
        <pc:chgData name="Frederick King" userId="bb732f183fe92d5e" providerId="LiveId" clId="{E2DCD61D-DC7A-4FDD-B312-815DCBE91D61}" dt="2021-01-11T13:14:15.567" v="12" actId="47"/>
        <pc:sldMkLst>
          <pc:docMk/>
          <pc:sldMk cId="2351287908" sldId="269"/>
        </pc:sldMkLst>
      </pc:sldChg>
      <pc:sldChg chg="del">
        <pc:chgData name="Frederick King" userId="bb732f183fe92d5e" providerId="LiveId" clId="{E2DCD61D-DC7A-4FDD-B312-815DCBE91D61}" dt="2021-01-11T13:14:15.567" v="12" actId="47"/>
        <pc:sldMkLst>
          <pc:docMk/>
          <pc:sldMk cId="2656985870" sldId="270"/>
        </pc:sldMkLst>
      </pc:sldChg>
      <pc:sldChg chg="del">
        <pc:chgData name="Frederick King" userId="bb732f183fe92d5e" providerId="LiveId" clId="{E2DCD61D-DC7A-4FDD-B312-815DCBE91D61}" dt="2021-01-11T13:14:15.567" v="12" actId="47"/>
        <pc:sldMkLst>
          <pc:docMk/>
          <pc:sldMk cId="2751801972" sldId="271"/>
        </pc:sldMkLst>
      </pc:sldChg>
      <pc:sldChg chg="del">
        <pc:chgData name="Frederick King" userId="bb732f183fe92d5e" providerId="LiveId" clId="{E2DCD61D-DC7A-4FDD-B312-815DCBE91D61}" dt="2021-01-11T13:14:15.567" v="12" actId="47"/>
        <pc:sldMkLst>
          <pc:docMk/>
          <pc:sldMk cId="221314866" sldId="272"/>
        </pc:sldMkLst>
      </pc:sldChg>
      <pc:sldChg chg="del">
        <pc:chgData name="Frederick King" userId="bb732f183fe92d5e" providerId="LiveId" clId="{E2DCD61D-DC7A-4FDD-B312-815DCBE91D61}" dt="2021-01-11T13:14:15.567" v="12" actId="47"/>
        <pc:sldMkLst>
          <pc:docMk/>
          <pc:sldMk cId="2803101717" sldId="273"/>
        </pc:sldMkLst>
      </pc:sldChg>
      <pc:sldChg chg="addSp delSp modSp new add mod">
        <pc:chgData name="Frederick King" userId="bb732f183fe92d5e" providerId="LiveId" clId="{E2DCD61D-DC7A-4FDD-B312-815DCBE91D61}" dt="2021-01-13T13:26:09.256" v="5255" actId="313"/>
        <pc:sldMkLst>
          <pc:docMk/>
          <pc:sldMk cId="2443630531" sldId="274"/>
        </pc:sldMkLst>
        <pc:spChg chg="mod">
          <ac:chgData name="Frederick King" userId="bb732f183fe92d5e" providerId="LiveId" clId="{E2DCD61D-DC7A-4FDD-B312-815DCBE91D61}" dt="2021-01-11T14:01:27.009" v="831" actId="948"/>
          <ac:spMkLst>
            <pc:docMk/>
            <pc:sldMk cId="2443630531" sldId="274"/>
            <ac:spMk id="2" creationId="{88395490-5244-46CE-8656-58BB910011B6}"/>
          </ac:spMkLst>
        </pc:spChg>
        <pc:spChg chg="del">
          <ac:chgData name="Frederick King" userId="bb732f183fe92d5e" providerId="LiveId" clId="{E2DCD61D-DC7A-4FDD-B312-815DCBE91D61}" dt="2021-01-11T13:14:10.063" v="10" actId="478"/>
          <ac:spMkLst>
            <pc:docMk/>
            <pc:sldMk cId="2443630531" sldId="274"/>
            <ac:spMk id="3" creationId="{DE44C563-21CE-49B0-B28E-C88A9BDF9729}"/>
          </ac:spMkLst>
        </pc:spChg>
        <pc:spChg chg="add del mod modVis">
          <ac:chgData name="Frederick King" userId="bb732f183fe92d5e" providerId="LiveId" clId="{E2DCD61D-DC7A-4FDD-B312-815DCBE91D61}" dt="2021-01-11T13:15:48.934" v="107" actId="962"/>
          <ac:spMkLst>
            <pc:docMk/>
            <pc:sldMk cId="2443630531" sldId="274"/>
            <ac:spMk id="4" creationId="{527CC03F-ABFA-49FA-9342-77F082F91B5E}"/>
          </ac:spMkLst>
        </pc:spChg>
        <pc:spChg chg="add mod">
          <ac:chgData name="Frederick King" userId="bb732f183fe92d5e" providerId="LiveId" clId="{E2DCD61D-DC7A-4FDD-B312-815DCBE91D61}" dt="2021-01-13T13:26:09.256" v="5255" actId="313"/>
          <ac:spMkLst>
            <pc:docMk/>
            <pc:sldMk cId="2443630531" sldId="274"/>
            <ac:spMk id="4" creationId="{D3673574-F330-47E9-883D-2649864648AE}"/>
          </ac:spMkLst>
        </pc:spChg>
        <pc:spChg chg="add del mod modVis">
          <ac:chgData name="Frederick King" userId="bb732f183fe92d5e" providerId="LiveId" clId="{E2DCD61D-DC7A-4FDD-B312-815DCBE91D61}" dt="2021-01-11T13:15:51.193" v="148"/>
          <ac:spMkLst>
            <pc:docMk/>
            <pc:sldMk cId="2443630531" sldId="274"/>
            <ac:spMk id="6" creationId="{B384AF3E-3EE7-44A7-B343-712DE29619D6}"/>
          </ac:spMkLst>
        </pc:spChg>
        <pc:spChg chg="add del mod modVis">
          <ac:chgData name="Frederick King" userId="bb732f183fe92d5e" providerId="LiveId" clId="{E2DCD61D-DC7A-4FDD-B312-815DCBE91D61}" dt="2021-01-11T13:15:56.225" v="239" actId="962"/>
          <ac:spMkLst>
            <pc:docMk/>
            <pc:sldMk cId="2443630531" sldId="274"/>
            <ac:spMk id="8" creationId="{DFE65E41-D646-46D7-9D98-FDCF0D437CF4}"/>
          </ac:spMkLst>
        </pc:spChg>
        <pc:spChg chg="add del mod modVis">
          <ac:chgData name="Frederick King" userId="bb732f183fe92d5e" providerId="LiveId" clId="{E2DCD61D-DC7A-4FDD-B312-815DCBE91D61}" dt="2021-01-11T13:53:53.641" v="729"/>
          <ac:spMkLst>
            <pc:docMk/>
            <pc:sldMk cId="2443630531" sldId="274"/>
            <ac:spMk id="12" creationId="{BC3B936A-C394-438D-B158-1ECAB6EB7E01}"/>
          </ac:spMkLst>
        </pc:spChg>
        <pc:spChg chg="add mod">
          <ac:chgData name="Frederick King" userId="bb732f183fe92d5e" providerId="LiveId" clId="{E2DCD61D-DC7A-4FDD-B312-815DCBE91D61}" dt="2021-01-11T13:54:42.160" v="750" actId="1076"/>
          <ac:spMkLst>
            <pc:docMk/>
            <pc:sldMk cId="2443630531" sldId="274"/>
            <ac:spMk id="13" creationId="{3D57B746-85AD-4E4B-849B-61D812283D8A}"/>
          </ac:spMkLst>
        </pc:spChg>
        <pc:spChg chg="add del mod modVis">
          <ac:chgData name="Frederick King" userId="bb732f183fe92d5e" providerId="LiveId" clId="{E2DCD61D-DC7A-4FDD-B312-815DCBE91D61}" dt="2021-01-11T14:01:27.056" v="868"/>
          <ac:spMkLst>
            <pc:docMk/>
            <pc:sldMk cId="2443630531" sldId="274"/>
            <ac:spMk id="14" creationId="{DACCB1AA-1501-417F-9D89-1ADFA91929C1}"/>
          </ac:spMkLst>
        </pc:spChg>
        <pc:graphicFrameChg chg="add mod ord modVis">
          <ac:chgData name="Frederick King" userId="bb732f183fe92d5e" providerId="LiveId" clId="{E2DCD61D-DC7A-4FDD-B312-815DCBE91D61}" dt="2021-01-11T13:15:48.918" v="73" actId="14100"/>
          <ac:graphicFrameMkLst>
            <pc:docMk/>
            <pc:sldMk cId="2443630531" sldId="274"/>
            <ac:graphicFrameMk id="5" creationId="{8ED42C94-D3F9-46B5-B193-2DF3D9EFFB4D}"/>
          </ac:graphicFrameMkLst>
        </pc:graphicFrameChg>
        <pc:graphicFrameChg chg="add mod ord modVis">
          <ac:chgData name="Frederick King" userId="bb732f183fe92d5e" providerId="LiveId" clId="{E2DCD61D-DC7A-4FDD-B312-815DCBE91D61}" dt="2021-01-11T14:01:27.072" v="870"/>
          <ac:graphicFrameMkLst>
            <pc:docMk/>
            <pc:sldMk cId="2443630531" sldId="274"/>
            <ac:graphicFrameMk id="7" creationId="{7062420D-45C1-4BB4-80E2-85AA2168BDB7}"/>
          </ac:graphicFrameMkLst>
        </pc:graphicFrameChg>
        <pc:graphicFrameChg chg="add mod modGraphic">
          <ac:chgData name="Frederick King" userId="bb732f183fe92d5e" providerId="LiveId" clId="{E2DCD61D-DC7A-4FDD-B312-815DCBE91D61}" dt="2021-01-11T13:59:42.814" v="811" actId="20577"/>
          <ac:graphicFrameMkLst>
            <pc:docMk/>
            <pc:sldMk cId="2443630531" sldId="274"/>
            <ac:graphicFrameMk id="9" creationId="{3F0CBEE6-308C-48B4-AD3F-0546A56450BC}"/>
          </ac:graphicFrameMkLst>
        </pc:graphicFrameChg>
        <pc:graphicFrameChg chg="add del mod">
          <ac:chgData name="Frederick King" userId="bb732f183fe92d5e" providerId="LiveId" clId="{E2DCD61D-DC7A-4FDD-B312-815DCBE91D61}" dt="2021-01-11T13:18:30.603" v="496"/>
          <ac:graphicFrameMkLst>
            <pc:docMk/>
            <pc:sldMk cId="2443630531" sldId="274"/>
            <ac:graphicFrameMk id="10" creationId="{B6494034-21EF-4AC3-859C-DA5D68176095}"/>
          </ac:graphicFrameMkLst>
        </pc:graphicFrameChg>
        <pc:graphicFrameChg chg="add del mod">
          <ac:chgData name="Frederick King" userId="bb732f183fe92d5e" providerId="LiveId" clId="{E2DCD61D-DC7A-4FDD-B312-815DCBE91D61}" dt="2021-01-11T13:18:34.582" v="498"/>
          <ac:graphicFrameMkLst>
            <pc:docMk/>
            <pc:sldMk cId="2443630531" sldId="274"/>
            <ac:graphicFrameMk id="11" creationId="{11A5DB65-BF1C-42F4-B6A3-A7E48ADCED6B}"/>
          </ac:graphicFrameMkLst>
        </pc:graphicFrameChg>
        <pc:cxnChg chg="add del mod">
          <ac:chgData name="Frederick King" userId="bb732f183fe92d5e" providerId="LiveId" clId="{E2DCD61D-DC7A-4FDD-B312-815DCBE91D61}" dt="2021-01-13T13:25:48.436" v="5150"/>
          <ac:cxnSpMkLst>
            <pc:docMk/>
            <pc:sldMk cId="2443630531" sldId="274"/>
            <ac:cxnSpMk id="3" creationId="{54D8BA29-18FF-4775-9E1B-74DB4F993F6A}"/>
          </ac:cxnSpMkLst>
        </pc:cxnChg>
      </pc:sldChg>
      <pc:sldChg chg="add del">
        <pc:chgData name="Frederick King" userId="bb732f183fe92d5e" providerId="LiveId" clId="{E2DCD61D-DC7A-4FDD-B312-815DCBE91D61}" dt="2021-01-11T13:18:53.964" v="502" actId="47"/>
        <pc:sldMkLst>
          <pc:docMk/>
          <pc:sldMk cId="1054583730" sldId="275"/>
        </pc:sldMkLst>
      </pc:sldChg>
      <pc:sldChg chg="addSp delSp modSp new add mod">
        <pc:chgData name="Frederick King" userId="bb732f183fe92d5e" providerId="LiveId" clId="{E2DCD61D-DC7A-4FDD-B312-815DCBE91D61}" dt="2021-01-11T17:57:01.713" v="1332" actId="20577"/>
        <pc:sldMkLst>
          <pc:docMk/>
          <pc:sldMk cId="2217190525" sldId="275"/>
        </pc:sldMkLst>
        <pc:spChg chg="mod">
          <ac:chgData name="Frederick King" userId="bb732f183fe92d5e" providerId="LiveId" clId="{E2DCD61D-DC7A-4FDD-B312-815DCBE91D61}" dt="2021-01-11T17:48:40.391" v="1030" actId="948"/>
          <ac:spMkLst>
            <pc:docMk/>
            <pc:sldMk cId="2217190525" sldId="275"/>
            <ac:spMk id="2" creationId="{5FC5268C-A911-45F3-992C-A89D6E608D41}"/>
          </ac:spMkLst>
        </pc:spChg>
        <pc:spChg chg="del">
          <ac:chgData name="Frederick King" userId="bb732f183fe92d5e" providerId="LiveId" clId="{E2DCD61D-DC7A-4FDD-B312-815DCBE91D61}" dt="2021-01-11T17:46:23.169" v="873" actId="478"/>
          <ac:spMkLst>
            <pc:docMk/>
            <pc:sldMk cId="2217190525" sldId="275"/>
            <ac:spMk id="3" creationId="{3C8B04D3-A61F-42BD-9FCE-22D467DE87C4}"/>
          </ac:spMkLst>
        </pc:spChg>
        <pc:spChg chg="add mod">
          <ac:chgData name="Frederick King" userId="bb732f183fe92d5e" providerId="LiveId" clId="{E2DCD61D-DC7A-4FDD-B312-815DCBE91D61}" dt="2021-01-11T17:48:48.437" v="1033"/>
          <ac:spMkLst>
            <pc:docMk/>
            <pc:sldMk cId="2217190525" sldId="275"/>
            <ac:spMk id="6" creationId="{38A4AFEE-8BAF-4829-928F-30186C1D56C9}"/>
          </ac:spMkLst>
        </pc:spChg>
        <pc:graphicFrameChg chg="add mod modGraphic">
          <ac:chgData name="Frederick King" userId="bb732f183fe92d5e" providerId="LiveId" clId="{E2DCD61D-DC7A-4FDD-B312-815DCBE91D61}" dt="2021-01-11T17:57:01.713" v="1332" actId="20577"/>
          <ac:graphicFrameMkLst>
            <pc:docMk/>
            <pc:sldMk cId="2217190525" sldId="275"/>
            <ac:graphicFrameMk id="4" creationId="{2F7E9A6B-20DE-4DF5-A60B-9FDF382781D5}"/>
          </ac:graphicFrameMkLst>
        </pc:graphicFrameChg>
        <pc:graphicFrameChg chg="add mod ord modVis">
          <ac:chgData name="Frederick King" userId="bb732f183fe92d5e" providerId="LiveId" clId="{E2DCD61D-DC7A-4FDD-B312-815DCBE91D61}" dt="2021-01-11T17:48:40.391" v="1032"/>
          <ac:graphicFrameMkLst>
            <pc:docMk/>
            <pc:sldMk cId="2217190525" sldId="275"/>
            <ac:graphicFrameMk id="5" creationId="{3AC3BCDE-ECE2-4351-99F5-D7BCD5ACE473}"/>
          </ac:graphicFrameMkLst>
        </pc:graphicFrameChg>
      </pc:sldChg>
      <pc:sldChg chg="addSp delSp modSp new add mod">
        <pc:chgData name="Frederick King" userId="bb732f183fe92d5e" providerId="LiveId" clId="{E2DCD61D-DC7A-4FDD-B312-815DCBE91D61}" dt="2021-01-12T17:13:45.817" v="2723"/>
        <pc:sldMkLst>
          <pc:docMk/>
          <pc:sldMk cId="2371015440" sldId="276"/>
        </pc:sldMkLst>
        <pc:spChg chg="mod">
          <ac:chgData name="Frederick King" userId="bb732f183fe92d5e" providerId="LiveId" clId="{E2DCD61D-DC7A-4FDD-B312-815DCBE91D61}" dt="2021-01-12T14:01:21.566" v="1848" actId="948"/>
          <ac:spMkLst>
            <pc:docMk/>
            <pc:sldMk cId="2371015440" sldId="276"/>
            <ac:spMk id="2" creationId="{0F9A439D-7CAC-44B9-A1C0-F9AC7E569A41}"/>
          </ac:spMkLst>
        </pc:spChg>
        <pc:spChg chg="del">
          <ac:chgData name="Frederick King" userId="bb732f183fe92d5e" providerId="LiveId" clId="{E2DCD61D-DC7A-4FDD-B312-815DCBE91D61}" dt="2021-01-12T09:47:43.965" v="1335" actId="478"/>
          <ac:spMkLst>
            <pc:docMk/>
            <pc:sldMk cId="2371015440" sldId="276"/>
            <ac:spMk id="3" creationId="{1F9BAFFA-746F-4DD9-96CA-685BEE0D6489}"/>
          </ac:spMkLst>
        </pc:spChg>
        <pc:spChg chg="mod topLvl">
          <ac:chgData name="Frederick King" userId="bb732f183fe92d5e" providerId="LiveId" clId="{E2DCD61D-DC7A-4FDD-B312-815DCBE91D61}" dt="2021-01-12T13:59:53.111" v="1806" actId="164"/>
          <ac:spMkLst>
            <pc:docMk/>
            <pc:sldMk cId="2371015440" sldId="276"/>
            <ac:spMk id="5" creationId="{F9AD3294-70A9-4AA9-99E2-A95600E6D7F4}"/>
          </ac:spMkLst>
        </pc:spChg>
        <pc:spChg chg="mod topLvl">
          <ac:chgData name="Frederick King" userId="bb732f183fe92d5e" providerId="LiveId" clId="{E2DCD61D-DC7A-4FDD-B312-815DCBE91D61}" dt="2021-01-12T14:02:17.158" v="1884" actId="20577"/>
          <ac:spMkLst>
            <pc:docMk/>
            <pc:sldMk cId="2371015440" sldId="276"/>
            <ac:spMk id="6" creationId="{11FE4F3E-3FD3-4923-9E9F-202804721750}"/>
          </ac:spMkLst>
        </pc:spChg>
        <pc:spChg chg="mod topLvl">
          <ac:chgData name="Frederick King" userId="bb732f183fe92d5e" providerId="LiveId" clId="{E2DCD61D-DC7A-4FDD-B312-815DCBE91D61}" dt="2021-01-12T13:59:53.111" v="1806" actId="164"/>
          <ac:spMkLst>
            <pc:docMk/>
            <pc:sldMk cId="2371015440" sldId="276"/>
            <ac:spMk id="8" creationId="{14E0F98E-B118-4E41-8A8E-B3B10A4F86C0}"/>
          </ac:spMkLst>
        </pc:spChg>
        <pc:spChg chg="mod topLvl">
          <ac:chgData name="Frederick King" userId="bb732f183fe92d5e" providerId="LiveId" clId="{E2DCD61D-DC7A-4FDD-B312-815DCBE91D61}" dt="2021-01-12T14:01:31.893" v="1854" actId="20577"/>
          <ac:spMkLst>
            <pc:docMk/>
            <pc:sldMk cId="2371015440" sldId="276"/>
            <ac:spMk id="9" creationId="{F0516FA3-2B86-44DD-BFE2-D25D39112F3A}"/>
          </ac:spMkLst>
        </pc:spChg>
        <pc:spChg chg="mod topLvl">
          <ac:chgData name="Frederick King" userId="bb732f183fe92d5e" providerId="LiveId" clId="{E2DCD61D-DC7A-4FDD-B312-815DCBE91D61}" dt="2021-01-12T17:13:45.817" v="2723"/>
          <ac:spMkLst>
            <pc:docMk/>
            <pc:sldMk cId="2371015440" sldId="276"/>
            <ac:spMk id="12" creationId="{65C3EDC4-5379-417B-B141-7ACEABFCE9D0}"/>
          </ac:spMkLst>
        </pc:spChg>
        <pc:spChg chg="mod topLvl">
          <ac:chgData name="Frederick King" userId="bb732f183fe92d5e" providerId="LiveId" clId="{E2DCD61D-DC7A-4FDD-B312-815DCBE91D61}" dt="2021-01-12T14:01:40.386" v="1860" actId="20577"/>
          <ac:spMkLst>
            <pc:docMk/>
            <pc:sldMk cId="2371015440" sldId="276"/>
            <ac:spMk id="13" creationId="{D93DD20C-C0FC-4CC3-ABD4-958CCE2447EB}"/>
          </ac:spMkLst>
        </pc:spChg>
        <pc:spChg chg="mod topLvl">
          <ac:chgData name="Frederick King" userId="bb732f183fe92d5e" providerId="LiveId" clId="{E2DCD61D-DC7A-4FDD-B312-815DCBE91D61}" dt="2021-01-12T13:59:53.111" v="1806" actId="164"/>
          <ac:spMkLst>
            <pc:docMk/>
            <pc:sldMk cId="2371015440" sldId="276"/>
            <ac:spMk id="15" creationId="{0720A133-C63B-48E5-A761-622C4DA3093B}"/>
          </ac:spMkLst>
        </pc:spChg>
        <pc:spChg chg="mod topLvl">
          <ac:chgData name="Frederick King" userId="bb732f183fe92d5e" providerId="LiveId" clId="{E2DCD61D-DC7A-4FDD-B312-815DCBE91D61}" dt="2021-01-12T14:03:27.557" v="1922" actId="20577"/>
          <ac:spMkLst>
            <pc:docMk/>
            <pc:sldMk cId="2371015440" sldId="276"/>
            <ac:spMk id="16" creationId="{233D4221-04C9-4B94-B949-C90DAEF8AFFB}"/>
          </ac:spMkLst>
        </pc:spChg>
        <pc:spChg chg="mod topLvl">
          <ac:chgData name="Frederick King" userId="bb732f183fe92d5e" providerId="LiveId" clId="{E2DCD61D-DC7A-4FDD-B312-815DCBE91D61}" dt="2021-01-12T13:59:53.111" v="1806" actId="164"/>
          <ac:spMkLst>
            <pc:docMk/>
            <pc:sldMk cId="2371015440" sldId="276"/>
            <ac:spMk id="18" creationId="{C8358AC8-2A02-48DB-A431-C99CA3C54F17}"/>
          </ac:spMkLst>
        </pc:spChg>
        <pc:spChg chg="mod topLvl">
          <ac:chgData name="Frederick King" userId="bb732f183fe92d5e" providerId="LiveId" clId="{E2DCD61D-DC7A-4FDD-B312-815DCBE91D61}" dt="2021-01-12T14:03:21.429" v="1914" actId="20577"/>
          <ac:spMkLst>
            <pc:docMk/>
            <pc:sldMk cId="2371015440" sldId="276"/>
            <ac:spMk id="19" creationId="{D298B2CA-C7E5-4DBB-AECA-5C4D5A26DDD8}"/>
          </ac:spMkLst>
        </pc:spChg>
        <pc:spChg chg="add del mod">
          <ac:chgData name="Frederick King" userId="bb732f183fe92d5e" providerId="LiveId" clId="{E2DCD61D-DC7A-4FDD-B312-815DCBE91D61}" dt="2021-01-12T13:49:20.504" v="1498" actId="478"/>
          <ac:spMkLst>
            <pc:docMk/>
            <pc:sldMk cId="2371015440" sldId="276"/>
            <ac:spMk id="27" creationId="{B592CF01-6B8A-4C31-AE61-BCE79497D716}"/>
          </ac:spMkLst>
        </pc:spChg>
        <pc:spChg chg="add del mod">
          <ac:chgData name="Frederick King" userId="bb732f183fe92d5e" providerId="LiveId" clId="{E2DCD61D-DC7A-4FDD-B312-815DCBE91D61}" dt="2021-01-12T13:49:20.504" v="1498" actId="478"/>
          <ac:spMkLst>
            <pc:docMk/>
            <pc:sldMk cId="2371015440" sldId="276"/>
            <ac:spMk id="28" creationId="{8B877C97-E3EF-4EE8-AB00-7AD0C6E66442}"/>
          </ac:spMkLst>
        </pc:spChg>
        <pc:spChg chg="add del mod">
          <ac:chgData name="Frederick King" userId="bb732f183fe92d5e" providerId="LiveId" clId="{E2DCD61D-DC7A-4FDD-B312-815DCBE91D61}" dt="2021-01-12T13:49:20.504" v="1498" actId="478"/>
          <ac:spMkLst>
            <pc:docMk/>
            <pc:sldMk cId="2371015440" sldId="276"/>
            <ac:spMk id="29" creationId="{331FF19A-D222-4E37-904D-1FF372651D0B}"/>
          </ac:spMkLst>
        </pc:spChg>
        <pc:spChg chg="add del mod">
          <ac:chgData name="Frederick King" userId="bb732f183fe92d5e" providerId="LiveId" clId="{E2DCD61D-DC7A-4FDD-B312-815DCBE91D61}" dt="2021-01-12T13:49:20.504" v="1498" actId="478"/>
          <ac:spMkLst>
            <pc:docMk/>
            <pc:sldMk cId="2371015440" sldId="276"/>
            <ac:spMk id="30" creationId="{87A3526B-7D8F-411F-AD06-384836EDE20D}"/>
          </ac:spMkLst>
        </pc:spChg>
        <pc:spChg chg="add del mod modVis">
          <ac:chgData name="Frederick King" userId="bb732f183fe92d5e" providerId="LiveId" clId="{E2DCD61D-DC7A-4FDD-B312-815DCBE91D61}" dt="2021-01-12T09:48:15.111" v="1420"/>
          <ac:spMkLst>
            <pc:docMk/>
            <pc:sldMk cId="2371015440" sldId="276"/>
            <ac:spMk id="32" creationId="{54090720-E351-4B27-B6F8-D5A0D1708DE3}"/>
          </ac:spMkLst>
        </pc:spChg>
        <pc:spChg chg="add del mod modVis">
          <ac:chgData name="Frederick King" userId="bb732f183fe92d5e" providerId="LiveId" clId="{E2DCD61D-DC7A-4FDD-B312-815DCBE91D61}" dt="2021-01-12T09:48:17.499" v="1473"/>
          <ac:spMkLst>
            <pc:docMk/>
            <pc:sldMk cId="2371015440" sldId="276"/>
            <ac:spMk id="33" creationId="{56F02477-8F1C-4BFE-BC17-CF306F7294F2}"/>
          </ac:spMkLst>
        </pc:spChg>
        <pc:spChg chg="mod topLvl">
          <ac:chgData name="Frederick King" userId="bb732f183fe92d5e" providerId="LiveId" clId="{E2DCD61D-DC7A-4FDD-B312-815DCBE91D61}" dt="2021-01-12T13:59:53.111" v="1806" actId="164"/>
          <ac:spMkLst>
            <pc:docMk/>
            <pc:sldMk cId="2371015440" sldId="276"/>
            <ac:spMk id="43" creationId="{D63B20A8-57E6-4198-9539-65B23B0E021F}"/>
          </ac:spMkLst>
        </pc:spChg>
        <pc:spChg chg="mod topLvl">
          <ac:chgData name="Frederick King" userId="bb732f183fe92d5e" providerId="LiveId" clId="{E2DCD61D-DC7A-4FDD-B312-815DCBE91D61}" dt="2021-01-12T17:13:06.329" v="2697" actId="20577"/>
          <ac:spMkLst>
            <pc:docMk/>
            <pc:sldMk cId="2371015440" sldId="276"/>
            <ac:spMk id="44" creationId="{10BC52E2-8000-4CE2-9B81-7E157E773C1D}"/>
          </ac:spMkLst>
        </pc:spChg>
        <pc:spChg chg="add mod">
          <ac:chgData name="Frederick King" userId="bb732f183fe92d5e" providerId="LiveId" clId="{E2DCD61D-DC7A-4FDD-B312-815DCBE91D61}" dt="2021-01-12T17:04:44.891" v="2137"/>
          <ac:spMkLst>
            <pc:docMk/>
            <pc:sldMk cId="2371015440" sldId="276"/>
            <ac:spMk id="52" creationId="{2844E1C8-5BF3-44EC-831A-3A3893DD377C}"/>
          </ac:spMkLst>
        </pc:spChg>
        <pc:grpChg chg="add del mod topLvl">
          <ac:chgData name="Frederick King" userId="bb732f183fe92d5e" providerId="LiveId" clId="{E2DCD61D-DC7A-4FDD-B312-815DCBE91D61}" dt="2021-01-12T13:50:10.049" v="1522" actId="165"/>
          <ac:grpSpMkLst>
            <pc:docMk/>
            <pc:sldMk cId="2371015440" sldId="276"/>
            <ac:grpSpMk id="4" creationId="{F3C03887-ABDD-42BF-9622-2708D8DD24D3}"/>
          </ac:grpSpMkLst>
        </pc:grpChg>
        <pc:grpChg chg="add del mod topLvl">
          <ac:chgData name="Frederick King" userId="bb732f183fe92d5e" providerId="LiveId" clId="{E2DCD61D-DC7A-4FDD-B312-815DCBE91D61}" dt="2021-01-12T13:50:10.049" v="1522" actId="165"/>
          <ac:grpSpMkLst>
            <pc:docMk/>
            <pc:sldMk cId="2371015440" sldId="276"/>
            <ac:grpSpMk id="7" creationId="{BA5B6485-2649-45AD-8D30-5A9C2DDDC8CA}"/>
          </ac:grpSpMkLst>
        </pc:grpChg>
        <pc:grpChg chg="add del mod topLvl">
          <ac:chgData name="Frederick King" userId="bb732f183fe92d5e" providerId="LiveId" clId="{E2DCD61D-DC7A-4FDD-B312-815DCBE91D61}" dt="2021-01-12T13:50:10.049" v="1522" actId="165"/>
          <ac:grpSpMkLst>
            <pc:docMk/>
            <pc:sldMk cId="2371015440" sldId="276"/>
            <ac:grpSpMk id="11" creationId="{E9FC201B-3A87-4F54-8EF5-10535BA8F023}"/>
          </ac:grpSpMkLst>
        </pc:grpChg>
        <pc:grpChg chg="add del mod topLvl">
          <ac:chgData name="Frederick King" userId="bb732f183fe92d5e" providerId="LiveId" clId="{E2DCD61D-DC7A-4FDD-B312-815DCBE91D61}" dt="2021-01-12T13:50:10.049" v="1522" actId="165"/>
          <ac:grpSpMkLst>
            <pc:docMk/>
            <pc:sldMk cId="2371015440" sldId="276"/>
            <ac:grpSpMk id="14" creationId="{2E1C5777-B7CF-472C-820E-D763829A4DA5}"/>
          </ac:grpSpMkLst>
        </pc:grpChg>
        <pc:grpChg chg="add del mod topLvl">
          <ac:chgData name="Frederick King" userId="bb732f183fe92d5e" providerId="LiveId" clId="{E2DCD61D-DC7A-4FDD-B312-815DCBE91D61}" dt="2021-01-12T13:50:10.049" v="1522" actId="165"/>
          <ac:grpSpMkLst>
            <pc:docMk/>
            <pc:sldMk cId="2371015440" sldId="276"/>
            <ac:grpSpMk id="17" creationId="{5E2AD880-BCAF-4961-9419-66A430B3E858}"/>
          </ac:grpSpMkLst>
        </pc:grpChg>
        <pc:grpChg chg="add del mod">
          <ac:chgData name="Frederick King" userId="bb732f183fe92d5e" providerId="LiveId" clId="{E2DCD61D-DC7A-4FDD-B312-815DCBE91D61}" dt="2021-01-12T13:50:09.845" v="1521" actId="165"/>
          <ac:grpSpMkLst>
            <pc:docMk/>
            <pc:sldMk cId="2371015440" sldId="276"/>
            <ac:grpSpMk id="34" creationId="{A39CA2A9-A92F-436D-BAF4-416218CD1898}"/>
          </ac:grpSpMkLst>
        </pc:grpChg>
        <pc:grpChg chg="add del mod">
          <ac:chgData name="Frederick King" userId="bb732f183fe92d5e" providerId="LiveId" clId="{E2DCD61D-DC7A-4FDD-B312-815DCBE91D61}" dt="2021-01-12T13:53:14.827" v="1643" actId="165"/>
          <ac:grpSpMkLst>
            <pc:docMk/>
            <pc:sldMk cId="2371015440" sldId="276"/>
            <ac:grpSpMk id="39" creationId="{7CDCD0F1-75C2-44B5-8872-3F6F0BA2037F}"/>
          </ac:grpSpMkLst>
        </pc:grpChg>
        <pc:grpChg chg="add del mod">
          <ac:chgData name="Frederick King" userId="bb732f183fe92d5e" providerId="LiveId" clId="{E2DCD61D-DC7A-4FDD-B312-815DCBE91D61}" dt="2021-01-12T13:53:14.827" v="1643" actId="165"/>
          <ac:grpSpMkLst>
            <pc:docMk/>
            <pc:sldMk cId="2371015440" sldId="276"/>
            <ac:grpSpMk id="40" creationId="{2781F81A-AA8D-4471-B61F-1BC04BA7E733}"/>
          </ac:grpSpMkLst>
        </pc:grpChg>
        <pc:grpChg chg="add del mod">
          <ac:chgData name="Frederick King" userId="bb732f183fe92d5e" providerId="LiveId" clId="{E2DCD61D-DC7A-4FDD-B312-815DCBE91D61}" dt="2021-01-12T13:53:14.827" v="1643" actId="165"/>
          <ac:grpSpMkLst>
            <pc:docMk/>
            <pc:sldMk cId="2371015440" sldId="276"/>
            <ac:grpSpMk id="41" creationId="{B1691892-6226-43B7-9F63-3904D4690220}"/>
          </ac:grpSpMkLst>
        </pc:grpChg>
        <pc:grpChg chg="add del mod">
          <ac:chgData name="Frederick King" userId="bb732f183fe92d5e" providerId="LiveId" clId="{E2DCD61D-DC7A-4FDD-B312-815DCBE91D61}" dt="2021-01-12T13:53:14.827" v="1643" actId="165"/>
          <ac:grpSpMkLst>
            <pc:docMk/>
            <pc:sldMk cId="2371015440" sldId="276"/>
            <ac:grpSpMk id="42" creationId="{4780C671-3959-41EA-B473-FE2BC1206140}"/>
          </ac:grpSpMkLst>
        </pc:grpChg>
        <pc:grpChg chg="add mod">
          <ac:chgData name="Frederick King" userId="bb732f183fe92d5e" providerId="LiveId" clId="{E2DCD61D-DC7A-4FDD-B312-815DCBE91D61}" dt="2021-01-12T13:59:56.205" v="1807" actId="12788"/>
          <ac:grpSpMkLst>
            <pc:docMk/>
            <pc:sldMk cId="2371015440" sldId="276"/>
            <ac:grpSpMk id="51" creationId="{0AEC8BDC-D1DD-471D-A174-275105E49025}"/>
          </ac:grpSpMkLst>
        </pc:grpChg>
        <pc:graphicFrameChg chg="add mod ord modVis">
          <ac:chgData name="Frederick King" userId="bb732f183fe92d5e" providerId="LiveId" clId="{E2DCD61D-DC7A-4FDD-B312-815DCBE91D61}" dt="2021-01-12T14:01:21.566" v="1850"/>
          <ac:graphicFrameMkLst>
            <pc:docMk/>
            <pc:sldMk cId="2371015440" sldId="276"/>
            <ac:graphicFrameMk id="31" creationId="{3D9B2E00-0D9D-47B7-9ECB-2303B440D185}"/>
          </ac:graphicFrameMkLst>
        </pc:graphicFrameChg>
        <pc:cxnChg chg="add mod topLvl">
          <ac:chgData name="Frederick King" userId="bb732f183fe92d5e" providerId="LiveId" clId="{E2DCD61D-DC7A-4FDD-B312-815DCBE91D61}" dt="2021-01-12T13:59:53.111" v="1806" actId="164"/>
          <ac:cxnSpMkLst>
            <pc:docMk/>
            <pc:sldMk cId="2371015440" sldId="276"/>
            <ac:cxnSpMk id="10" creationId="{77C9B266-2BA0-4FF0-9A18-77A19FCF742A}"/>
          </ac:cxnSpMkLst>
        </pc:cxnChg>
        <pc:cxnChg chg="add mod topLvl">
          <ac:chgData name="Frederick King" userId="bb732f183fe92d5e" providerId="LiveId" clId="{E2DCD61D-DC7A-4FDD-B312-815DCBE91D61}" dt="2021-01-12T13:59:53.111" v="1806" actId="164"/>
          <ac:cxnSpMkLst>
            <pc:docMk/>
            <pc:sldMk cId="2371015440" sldId="276"/>
            <ac:cxnSpMk id="20" creationId="{179D8A26-5FDD-437E-AC90-06032E3B4001}"/>
          </ac:cxnSpMkLst>
        </pc:cxnChg>
        <pc:cxnChg chg="add mod topLvl">
          <ac:chgData name="Frederick King" userId="bb732f183fe92d5e" providerId="LiveId" clId="{E2DCD61D-DC7A-4FDD-B312-815DCBE91D61}" dt="2021-01-12T13:59:53.111" v="1806" actId="164"/>
          <ac:cxnSpMkLst>
            <pc:docMk/>
            <pc:sldMk cId="2371015440" sldId="276"/>
            <ac:cxnSpMk id="21" creationId="{7B38F31A-48D0-43FA-A65D-F3165AF04DC1}"/>
          </ac:cxnSpMkLst>
        </pc:cxnChg>
        <pc:cxnChg chg="add del mod topLvl">
          <ac:chgData name="Frederick King" userId="bb732f183fe92d5e" providerId="LiveId" clId="{E2DCD61D-DC7A-4FDD-B312-815DCBE91D61}" dt="2021-01-12T13:55:23.390" v="1720" actId="478"/>
          <ac:cxnSpMkLst>
            <pc:docMk/>
            <pc:sldMk cId="2371015440" sldId="276"/>
            <ac:cxnSpMk id="22" creationId="{52529A78-6F3C-4CA2-BDC3-18DF666B3421}"/>
          </ac:cxnSpMkLst>
        </pc:cxnChg>
        <pc:cxnChg chg="add del mod">
          <ac:chgData name="Frederick King" userId="bb732f183fe92d5e" providerId="LiveId" clId="{E2DCD61D-DC7A-4FDD-B312-815DCBE91D61}" dt="2021-01-12T13:49:20.504" v="1498" actId="478"/>
          <ac:cxnSpMkLst>
            <pc:docMk/>
            <pc:sldMk cId="2371015440" sldId="276"/>
            <ac:cxnSpMk id="23" creationId="{FCF5B0CB-90F4-45E7-8999-500F8733DCFD}"/>
          </ac:cxnSpMkLst>
        </pc:cxnChg>
        <pc:cxnChg chg="add del mod">
          <ac:chgData name="Frederick King" userId="bb732f183fe92d5e" providerId="LiveId" clId="{E2DCD61D-DC7A-4FDD-B312-815DCBE91D61}" dt="2021-01-12T13:49:20.504" v="1498" actId="478"/>
          <ac:cxnSpMkLst>
            <pc:docMk/>
            <pc:sldMk cId="2371015440" sldId="276"/>
            <ac:cxnSpMk id="24" creationId="{B98F98A3-4718-4C05-9D27-8C653B042251}"/>
          </ac:cxnSpMkLst>
        </pc:cxnChg>
        <pc:cxnChg chg="add del mod">
          <ac:chgData name="Frederick King" userId="bb732f183fe92d5e" providerId="LiveId" clId="{E2DCD61D-DC7A-4FDD-B312-815DCBE91D61}" dt="2021-01-12T13:49:20.504" v="1498" actId="478"/>
          <ac:cxnSpMkLst>
            <pc:docMk/>
            <pc:sldMk cId="2371015440" sldId="276"/>
            <ac:cxnSpMk id="25" creationId="{BE3ED4F9-3FF2-4D3B-A03D-6D6017E989D0}"/>
          </ac:cxnSpMkLst>
        </pc:cxnChg>
        <pc:cxnChg chg="add del mod">
          <ac:chgData name="Frederick King" userId="bb732f183fe92d5e" providerId="LiveId" clId="{E2DCD61D-DC7A-4FDD-B312-815DCBE91D61}" dt="2021-01-12T13:49:20.504" v="1498" actId="478"/>
          <ac:cxnSpMkLst>
            <pc:docMk/>
            <pc:sldMk cId="2371015440" sldId="276"/>
            <ac:cxnSpMk id="26" creationId="{7EC02938-9044-4EAB-B77B-FEE31125BAB6}"/>
          </ac:cxnSpMkLst>
        </pc:cxnChg>
        <pc:cxnChg chg="add mod">
          <ac:chgData name="Frederick King" userId="bb732f183fe92d5e" providerId="LiveId" clId="{E2DCD61D-DC7A-4FDD-B312-815DCBE91D61}" dt="2021-01-12T13:59:53.111" v="1806" actId="164"/>
          <ac:cxnSpMkLst>
            <pc:docMk/>
            <pc:sldMk cId="2371015440" sldId="276"/>
            <ac:cxnSpMk id="45" creationId="{6B6D72C5-4ADD-4EFD-AA8E-F4C20A485100}"/>
          </ac:cxnSpMkLst>
        </pc:cxnChg>
        <pc:cxnChg chg="add mod">
          <ac:chgData name="Frederick King" userId="bb732f183fe92d5e" providerId="LiveId" clId="{E2DCD61D-DC7A-4FDD-B312-815DCBE91D61}" dt="2021-01-12T13:59:53.111" v="1806" actId="164"/>
          <ac:cxnSpMkLst>
            <pc:docMk/>
            <pc:sldMk cId="2371015440" sldId="276"/>
            <ac:cxnSpMk id="48" creationId="{5E929CB5-10B0-46DF-A7EE-32CD5B3F37D7}"/>
          </ac:cxnSpMkLst>
        </pc:cxnChg>
      </pc:sldChg>
      <pc:sldChg chg="addSp modSp add mod">
        <pc:chgData name="Frederick King" userId="bb732f183fe92d5e" providerId="LiveId" clId="{E2DCD61D-DC7A-4FDD-B312-815DCBE91D61}" dt="2021-01-12T17:13:42.599" v="2722" actId="20577"/>
        <pc:sldMkLst>
          <pc:docMk/>
          <pc:sldMk cId="2147208854" sldId="277"/>
        </pc:sldMkLst>
        <pc:spChg chg="mod">
          <ac:chgData name="Frederick King" userId="bb732f183fe92d5e" providerId="LiveId" clId="{E2DCD61D-DC7A-4FDD-B312-815DCBE91D61}" dt="2021-01-12T14:01:18.143" v="1844" actId="948"/>
          <ac:spMkLst>
            <pc:docMk/>
            <pc:sldMk cId="2147208854" sldId="277"/>
            <ac:spMk id="2" creationId="{0F9A439D-7CAC-44B9-A1C0-F9AC7E569A41}"/>
          </ac:spMkLst>
        </pc:spChg>
        <pc:spChg chg="mod">
          <ac:chgData name="Frederick King" userId="bb732f183fe92d5e" providerId="LiveId" clId="{E2DCD61D-DC7A-4FDD-B312-815DCBE91D61}" dt="2021-01-12T17:13:42.599" v="2722" actId="20577"/>
          <ac:spMkLst>
            <pc:docMk/>
            <pc:sldMk cId="2147208854" sldId="277"/>
            <ac:spMk id="12" creationId="{65C3EDC4-5379-417B-B141-7ACEABFCE9D0}"/>
          </ac:spMkLst>
        </pc:spChg>
        <pc:spChg chg="mod">
          <ac:chgData name="Frederick King" userId="bb732f183fe92d5e" providerId="LiveId" clId="{E2DCD61D-DC7A-4FDD-B312-815DCBE91D61}" dt="2021-01-12T17:13:20.570" v="2706" actId="20577"/>
          <ac:spMkLst>
            <pc:docMk/>
            <pc:sldMk cId="2147208854" sldId="277"/>
            <ac:spMk id="16" creationId="{233D4221-04C9-4B94-B949-C90DAEF8AFFB}"/>
          </ac:spMkLst>
        </pc:spChg>
        <pc:spChg chg="add mod">
          <ac:chgData name="Frederick King" userId="bb732f183fe92d5e" providerId="LiveId" clId="{E2DCD61D-DC7A-4FDD-B312-815DCBE91D61}" dt="2021-01-12T17:04:45.656" v="2138"/>
          <ac:spMkLst>
            <pc:docMk/>
            <pc:sldMk cId="2147208854" sldId="277"/>
            <ac:spMk id="22" creationId="{2F358CF1-627F-407A-B779-37DE92E11165}"/>
          </ac:spMkLst>
        </pc:spChg>
        <pc:spChg chg="mod">
          <ac:chgData name="Frederick King" userId="bb732f183fe92d5e" providerId="LiveId" clId="{E2DCD61D-DC7A-4FDD-B312-815DCBE91D61}" dt="2021-01-12T17:13:10.630" v="2702" actId="20577"/>
          <ac:spMkLst>
            <pc:docMk/>
            <pc:sldMk cId="2147208854" sldId="277"/>
            <ac:spMk id="44" creationId="{10BC52E2-8000-4CE2-9B81-7E157E773C1D}"/>
          </ac:spMkLst>
        </pc:spChg>
        <pc:graphicFrameChg chg="mod">
          <ac:chgData name="Frederick King" userId="bb732f183fe92d5e" providerId="LiveId" clId="{E2DCD61D-DC7A-4FDD-B312-815DCBE91D61}" dt="2021-01-12T14:01:18.143" v="1846"/>
          <ac:graphicFrameMkLst>
            <pc:docMk/>
            <pc:sldMk cId="2147208854" sldId="277"/>
            <ac:graphicFrameMk id="31" creationId="{3D9B2E00-0D9D-47B7-9ECB-2303B440D185}"/>
          </ac:graphicFrameMkLst>
        </pc:graphicFrameChg>
      </pc:sldChg>
      <pc:sldChg chg="addSp delSp modSp new add mod">
        <pc:chgData name="Frederick King" userId="bb732f183fe92d5e" providerId="LiveId" clId="{E2DCD61D-DC7A-4FDD-B312-815DCBE91D61}" dt="2021-01-13T12:27:58.725" v="4105"/>
        <pc:sldMkLst>
          <pc:docMk/>
          <pc:sldMk cId="1748074316" sldId="278"/>
        </pc:sldMkLst>
        <pc:spChg chg="mod">
          <ac:chgData name="Frederick King" userId="bb732f183fe92d5e" providerId="LiveId" clId="{E2DCD61D-DC7A-4FDD-B312-815DCBE91D61}" dt="2021-01-12T17:18:15.062" v="2868" actId="948"/>
          <ac:spMkLst>
            <pc:docMk/>
            <pc:sldMk cId="1748074316" sldId="278"/>
            <ac:spMk id="2" creationId="{294BDE24-F7BA-44EF-8B87-377957F26EE4}"/>
          </ac:spMkLst>
        </pc:spChg>
        <pc:spChg chg="del">
          <ac:chgData name="Frederick King" userId="bb732f183fe92d5e" providerId="LiveId" clId="{E2DCD61D-DC7A-4FDD-B312-815DCBE91D61}" dt="2021-01-12T16:58:16.209" v="1925" actId="478"/>
          <ac:spMkLst>
            <pc:docMk/>
            <pc:sldMk cId="1748074316" sldId="278"/>
            <ac:spMk id="3" creationId="{60C51532-ACBA-44BE-96C8-166571469155}"/>
          </ac:spMkLst>
        </pc:spChg>
        <pc:spChg chg="mod topLvl">
          <ac:chgData name="Frederick King" userId="bb732f183fe92d5e" providerId="LiveId" clId="{E2DCD61D-DC7A-4FDD-B312-815DCBE91D61}" dt="2021-01-12T17:08:34.393" v="2331" actId="165"/>
          <ac:spMkLst>
            <pc:docMk/>
            <pc:sldMk cId="1748074316" sldId="278"/>
            <ac:spMk id="11" creationId="{FFDF53E5-240B-4BBD-A18D-68BEA114263F}"/>
          </ac:spMkLst>
        </pc:spChg>
        <pc:spChg chg="mod topLvl">
          <ac:chgData name="Frederick King" userId="bb732f183fe92d5e" providerId="LiveId" clId="{E2DCD61D-DC7A-4FDD-B312-815DCBE91D61}" dt="2021-01-12T17:08:34.393" v="2331" actId="165"/>
          <ac:spMkLst>
            <pc:docMk/>
            <pc:sldMk cId="1748074316" sldId="278"/>
            <ac:spMk id="12" creationId="{3E9568C4-2F73-431F-BCA3-7F21F3E917A5}"/>
          </ac:spMkLst>
        </pc:spChg>
        <pc:spChg chg="mod topLvl">
          <ac:chgData name="Frederick King" userId="bb732f183fe92d5e" providerId="LiveId" clId="{E2DCD61D-DC7A-4FDD-B312-815DCBE91D61}" dt="2021-01-12T17:08:34.393" v="2331" actId="165"/>
          <ac:spMkLst>
            <pc:docMk/>
            <pc:sldMk cId="1748074316" sldId="278"/>
            <ac:spMk id="13" creationId="{6B73DDB1-2066-4A3A-95F1-DABE0D56E66D}"/>
          </ac:spMkLst>
        </pc:spChg>
        <pc:spChg chg="mod topLvl">
          <ac:chgData name="Frederick King" userId="bb732f183fe92d5e" providerId="LiveId" clId="{E2DCD61D-DC7A-4FDD-B312-815DCBE91D61}" dt="2021-01-12T17:14:44.797" v="2768" actId="20577"/>
          <ac:spMkLst>
            <pc:docMk/>
            <pc:sldMk cId="1748074316" sldId="278"/>
            <ac:spMk id="14" creationId="{CC7F3408-1F0D-4332-A29F-21E0FBFC00CC}"/>
          </ac:spMkLst>
        </pc:spChg>
        <pc:spChg chg="mod topLvl">
          <ac:chgData name="Frederick King" userId="bb732f183fe92d5e" providerId="LiveId" clId="{E2DCD61D-DC7A-4FDD-B312-815DCBE91D61}" dt="2021-01-12T17:08:34.393" v="2331" actId="165"/>
          <ac:spMkLst>
            <pc:docMk/>
            <pc:sldMk cId="1748074316" sldId="278"/>
            <ac:spMk id="15" creationId="{5E240199-E68D-46CE-A2FB-3A60E32A3E72}"/>
          </ac:spMkLst>
        </pc:spChg>
        <pc:spChg chg="mod topLvl">
          <ac:chgData name="Frederick King" userId="bb732f183fe92d5e" providerId="LiveId" clId="{E2DCD61D-DC7A-4FDD-B312-815DCBE91D61}" dt="2021-01-12T17:14:40.358" v="2767" actId="1036"/>
          <ac:spMkLst>
            <pc:docMk/>
            <pc:sldMk cId="1748074316" sldId="278"/>
            <ac:spMk id="23" creationId="{B06E75AC-6E6E-4B9F-849A-4F8422C00627}"/>
          </ac:spMkLst>
        </pc:spChg>
        <pc:spChg chg="mod topLvl">
          <ac:chgData name="Frederick King" userId="bb732f183fe92d5e" providerId="LiveId" clId="{E2DCD61D-DC7A-4FDD-B312-815DCBE91D61}" dt="2021-01-12T17:14:40.358" v="2767" actId="1036"/>
          <ac:spMkLst>
            <pc:docMk/>
            <pc:sldMk cId="1748074316" sldId="278"/>
            <ac:spMk id="24" creationId="{133E0348-3C9C-4A18-98A3-EDA16E4149FA}"/>
          </ac:spMkLst>
        </pc:spChg>
        <pc:spChg chg="mod topLvl">
          <ac:chgData name="Frederick King" userId="bb732f183fe92d5e" providerId="LiveId" clId="{E2DCD61D-DC7A-4FDD-B312-815DCBE91D61}" dt="2021-01-12T17:14:40.358" v="2767" actId="1036"/>
          <ac:spMkLst>
            <pc:docMk/>
            <pc:sldMk cId="1748074316" sldId="278"/>
            <ac:spMk id="25" creationId="{91446B96-94A7-4D02-930C-E0C259D5B228}"/>
          </ac:spMkLst>
        </pc:spChg>
        <pc:spChg chg="mod topLvl">
          <ac:chgData name="Frederick King" userId="bb732f183fe92d5e" providerId="LiveId" clId="{E2DCD61D-DC7A-4FDD-B312-815DCBE91D61}" dt="2021-01-12T17:14:40.358" v="2767" actId="1036"/>
          <ac:spMkLst>
            <pc:docMk/>
            <pc:sldMk cId="1748074316" sldId="278"/>
            <ac:spMk id="26" creationId="{17EFD8FB-7576-4007-8585-B1B95444D882}"/>
          </ac:spMkLst>
        </pc:spChg>
        <pc:spChg chg="mod topLvl">
          <ac:chgData name="Frederick King" userId="bb732f183fe92d5e" providerId="LiveId" clId="{E2DCD61D-DC7A-4FDD-B312-815DCBE91D61}" dt="2021-01-12T17:14:40.358" v="2767" actId="1036"/>
          <ac:spMkLst>
            <pc:docMk/>
            <pc:sldMk cId="1748074316" sldId="278"/>
            <ac:spMk id="27" creationId="{1C647731-A1FC-47C8-9927-B5ECF6D22EA8}"/>
          </ac:spMkLst>
        </pc:spChg>
        <pc:spChg chg="mod topLvl">
          <ac:chgData name="Frederick King" userId="bb732f183fe92d5e" providerId="LiveId" clId="{E2DCD61D-DC7A-4FDD-B312-815DCBE91D61}" dt="2021-01-12T17:08:34.393" v="2331" actId="165"/>
          <ac:spMkLst>
            <pc:docMk/>
            <pc:sldMk cId="1748074316" sldId="278"/>
            <ac:spMk id="29" creationId="{634CF29F-DF29-4B18-887A-8D2AA002A02E}"/>
          </ac:spMkLst>
        </pc:spChg>
        <pc:spChg chg="mod topLvl">
          <ac:chgData name="Frederick King" userId="bb732f183fe92d5e" providerId="LiveId" clId="{E2DCD61D-DC7A-4FDD-B312-815DCBE91D61}" dt="2021-01-12T17:12:28.442" v="2683" actId="20577"/>
          <ac:spMkLst>
            <pc:docMk/>
            <pc:sldMk cId="1748074316" sldId="278"/>
            <ac:spMk id="30" creationId="{749CC772-1CE3-4426-A136-8BCE6E6E4CD4}"/>
          </ac:spMkLst>
        </pc:spChg>
        <pc:spChg chg="mod topLvl">
          <ac:chgData name="Frederick King" userId="bb732f183fe92d5e" providerId="LiveId" clId="{E2DCD61D-DC7A-4FDD-B312-815DCBE91D61}" dt="2021-01-12T17:13:32.946" v="2709"/>
          <ac:spMkLst>
            <pc:docMk/>
            <pc:sldMk cId="1748074316" sldId="278"/>
            <ac:spMk id="31" creationId="{689473DE-0C40-4D4F-9E70-AF73EB78813B}"/>
          </ac:spMkLst>
        </pc:spChg>
        <pc:spChg chg="mod topLvl">
          <ac:chgData name="Frederick King" userId="bb732f183fe92d5e" providerId="LiveId" clId="{E2DCD61D-DC7A-4FDD-B312-815DCBE91D61}" dt="2021-01-12T17:08:34.393" v="2331" actId="165"/>
          <ac:spMkLst>
            <pc:docMk/>
            <pc:sldMk cId="1748074316" sldId="278"/>
            <ac:spMk id="32" creationId="{D0FCD157-68D3-498D-82A9-5F37549A361B}"/>
          </ac:spMkLst>
        </pc:spChg>
        <pc:spChg chg="mod topLvl">
          <ac:chgData name="Frederick King" userId="bb732f183fe92d5e" providerId="LiveId" clId="{E2DCD61D-DC7A-4FDD-B312-815DCBE91D61}" dt="2021-01-12T17:14:26.390" v="2732"/>
          <ac:spMkLst>
            <pc:docMk/>
            <pc:sldMk cId="1748074316" sldId="278"/>
            <ac:spMk id="33" creationId="{95ACF374-ADAD-455F-AD13-EBE66FD9AA76}"/>
          </ac:spMkLst>
        </pc:spChg>
        <pc:spChg chg="mod topLvl">
          <ac:chgData name="Frederick King" userId="bb732f183fe92d5e" providerId="LiveId" clId="{E2DCD61D-DC7A-4FDD-B312-815DCBE91D61}" dt="2021-01-12T17:08:34.393" v="2331" actId="165"/>
          <ac:spMkLst>
            <pc:docMk/>
            <pc:sldMk cId="1748074316" sldId="278"/>
            <ac:spMk id="37" creationId="{5A185F24-26A4-412E-B5BD-C0E815437B80}"/>
          </ac:spMkLst>
        </pc:spChg>
        <pc:spChg chg="mod topLvl">
          <ac:chgData name="Frederick King" userId="bb732f183fe92d5e" providerId="LiveId" clId="{E2DCD61D-DC7A-4FDD-B312-815DCBE91D61}" dt="2021-01-12T17:08:34.393" v="2331" actId="165"/>
          <ac:spMkLst>
            <pc:docMk/>
            <pc:sldMk cId="1748074316" sldId="278"/>
            <ac:spMk id="39" creationId="{100895F7-35D4-42A3-BA8D-1E0FCBC79D12}"/>
          </ac:spMkLst>
        </pc:spChg>
        <pc:spChg chg="mod topLvl">
          <ac:chgData name="Frederick King" userId="bb732f183fe92d5e" providerId="LiveId" clId="{E2DCD61D-DC7A-4FDD-B312-815DCBE91D61}" dt="2021-01-12T17:08:34.393" v="2331" actId="165"/>
          <ac:spMkLst>
            <pc:docMk/>
            <pc:sldMk cId="1748074316" sldId="278"/>
            <ac:spMk id="41" creationId="{187B131B-17BD-4DFF-A9BD-C7156E18A12D}"/>
          </ac:spMkLst>
        </pc:spChg>
        <pc:spChg chg="mod topLvl">
          <ac:chgData name="Frederick King" userId="bb732f183fe92d5e" providerId="LiveId" clId="{E2DCD61D-DC7A-4FDD-B312-815DCBE91D61}" dt="2021-01-12T17:08:34.393" v="2331" actId="165"/>
          <ac:spMkLst>
            <pc:docMk/>
            <pc:sldMk cId="1748074316" sldId="278"/>
            <ac:spMk id="43" creationId="{2888DE59-C99E-4C31-98A2-C4033D1988E7}"/>
          </ac:spMkLst>
        </pc:spChg>
        <pc:spChg chg="mod topLvl">
          <ac:chgData name="Frederick King" userId="bb732f183fe92d5e" providerId="LiveId" clId="{E2DCD61D-DC7A-4FDD-B312-815DCBE91D61}" dt="2021-01-12T17:08:34.393" v="2331" actId="165"/>
          <ac:spMkLst>
            <pc:docMk/>
            <pc:sldMk cId="1748074316" sldId="278"/>
            <ac:spMk id="44" creationId="{1704750D-AE15-427C-9A77-C4CF3C47F9AB}"/>
          </ac:spMkLst>
        </pc:spChg>
        <pc:spChg chg="add mod">
          <ac:chgData name="Frederick King" userId="bb732f183fe92d5e" providerId="LiveId" clId="{E2DCD61D-DC7A-4FDD-B312-815DCBE91D61}" dt="2021-01-12T17:01:31.625" v="2010" actId="571"/>
          <ac:spMkLst>
            <pc:docMk/>
            <pc:sldMk cId="1748074316" sldId="278"/>
            <ac:spMk id="46" creationId="{87276A4D-6389-4F85-84F6-4469169C9D7A}"/>
          </ac:spMkLst>
        </pc:spChg>
        <pc:spChg chg="add mod">
          <ac:chgData name="Frederick King" userId="bb732f183fe92d5e" providerId="LiveId" clId="{E2DCD61D-DC7A-4FDD-B312-815DCBE91D61}" dt="2021-01-13T12:27:58.725" v="4105"/>
          <ac:spMkLst>
            <pc:docMk/>
            <pc:sldMk cId="1748074316" sldId="278"/>
            <ac:spMk id="46" creationId="{98AD4BE5-381A-4E12-91E6-A717858E95CE}"/>
          </ac:spMkLst>
        </pc:spChg>
        <pc:spChg chg="add mod">
          <ac:chgData name="Frederick King" userId="bb732f183fe92d5e" providerId="LiveId" clId="{E2DCD61D-DC7A-4FDD-B312-815DCBE91D61}" dt="2021-01-12T17:01:31.625" v="2010" actId="571"/>
          <ac:spMkLst>
            <pc:docMk/>
            <pc:sldMk cId="1748074316" sldId="278"/>
            <ac:spMk id="47" creationId="{11152EE4-EC16-45B5-9248-D09885C30F78}"/>
          </ac:spMkLst>
        </pc:spChg>
        <pc:spChg chg="add mod">
          <ac:chgData name="Frederick King" userId="bb732f183fe92d5e" providerId="LiveId" clId="{E2DCD61D-DC7A-4FDD-B312-815DCBE91D61}" dt="2021-01-12T17:01:31.625" v="2010" actId="571"/>
          <ac:spMkLst>
            <pc:docMk/>
            <pc:sldMk cId="1748074316" sldId="278"/>
            <ac:spMk id="48" creationId="{FA085A9F-BBAD-4D61-97C1-97496EF434EA}"/>
          </ac:spMkLst>
        </pc:spChg>
        <pc:spChg chg="add mod">
          <ac:chgData name="Frederick King" userId="bb732f183fe92d5e" providerId="LiveId" clId="{E2DCD61D-DC7A-4FDD-B312-815DCBE91D61}" dt="2021-01-12T17:01:31.625" v="2010" actId="571"/>
          <ac:spMkLst>
            <pc:docMk/>
            <pc:sldMk cId="1748074316" sldId="278"/>
            <ac:spMk id="49" creationId="{FC554836-EAC4-4E50-99B5-8AE644D368D8}"/>
          </ac:spMkLst>
        </pc:spChg>
        <pc:spChg chg="add mod">
          <ac:chgData name="Frederick King" userId="bb732f183fe92d5e" providerId="LiveId" clId="{E2DCD61D-DC7A-4FDD-B312-815DCBE91D61}" dt="2021-01-12T17:01:31.625" v="2010" actId="571"/>
          <ac:spMkLst>
            <pc:docMk/>
            <pc:sldMk cId="1748074316" sldId="278"/>
            <ac:spMk id="50" creationId="{77662F07-2E7C-4DAF-B6DB-0E72CBB176B6}"/>
          </ac:spMkLst>
        </pc:spChg>
        <pc:spChg chg="add mod">
          <ac:chgData name="Frederick King" userId="bb732f183fe92d5e" providerId="LiveId" clId="{E2DCD61D-DC7A-4FDD-B312-815DCBE91D61}" dt="2021-01-12T17:01:31.625" v="2010" actId="571"/>
          <ac:spMkLst>
            <pc:docMk/>
            <pc:sldMk cId="1748074316" sldId="278"/>
            <ac:spMk id="51" creationId="{CE9A4EA0-D701-4EB4-A1B0-A7AE5E2FCAD5}"/>
          </ac:spMkLst>
        </pc:spChg>
        <pc:spChg chg="add mod">
          <ac:chgData name="Frederick King" userId="bb732f183fe92d5e" providerId="LiveId" clId="{E2DCD61D-DC7A-4FDD-B312-815DCBE91D61}" dt="2021-01-12T17:01:31.625" v="2010" actId="571"/>
          <ac:spMkLst>
            <pc:docMk/>
            <pc:sldMk cId="1748074316" sldId="278"/>
            <ac:spMk id="52" creationId="{D1F2D2DC-2CBF-407D-8DEA-BDBB56B0E47E}"/>
          </ac:spMkLst>
        </pc:spChg>
        <pc:spChg chg="add mod">
          <ac:chgData name="Frederick King" userId="bb732f183fe92d5e" providerId="LiveId" clId="{E2DCD61D-DC7A-4FDD-B312-815DCBE91D61}" dt="2021-01-12T17:01:31.625" v="2010" actId="571"/>
          <ac:spMkLst>
            <pc:docMk/>
            <pc:sldMk cId="1748074316" sldId="278"/>
            <ac:spMk id="53" creationId="{A3A4D1AA-3C8A-4698-93D5-A2E53F49ABBB}"/>
          </ac:spMkLst>
        </pc:spChg>
        <pc:spChg chg="add mod">
          <ac:chgData name="Frederick King" userId="bb732f183fe92d5e" providerId="LiveId" clId="{E2DCD61D-DC7A-4FDD-B312-815DCBE91D61}" dt="2021-01-12T17:01:31.625" v="2010" actId="571"/>
          <ac:spMkLst>
            <pc:docMk/>
            <pc:sldMk cId="1748074316" sldId="278"/>
            <ac:spMk id="54" creationId="{6DF555DD-2FF7-4039-B617-E5F1C0BE55D1}"/>
          </ac:spMkLst>
        </pc:spChg>
        <pc:spChg chg="add mod">
          <ac:chgData name="Frederick King" userId="bb732f183fe92d5e" providerId="LiveId" clId="{E2DCD61D-DC7A-4FDD-B312-815DCBE91D61}" dt="2021-01-12T17:01:31.625" v="2010" actId="571"/>
          <ac:spMkLst>
            <pc:docMk/>
            <pc:sldMk cId="1748074316" sldId="278"/>
            <ac:spMk id="55" creationId="{5AA9392F-6ADC-45A5-9C66-37BD3BCA04E5}"/>
          </ac:spMkLst>
        </pc:spChg>
        <pc:spChg chg="add mod">
          <ac:chgData name="Frederick King" userId="bb732f183fe92d5e" providerId="LiveId" clId="{E2DCD61D-DC7A-4FDD-B312-815DCBE91D61}" dt="2021-01-12T17:01:31.625" v="2010" actId="571"/>
          <ac:spMkLst>
            <pc:docMk/>
            <pc:sldMk cId="1748074316" sldId="278"/>
            <ac:spMk id="56" creationId="{D2259EC3-3F30-42CA-BAF2-A3CE4F467633}"/>
          </ac:spMkLst>
        </pc:spChg>
        <pc:spChg chg="add mod">
          <ac:chgData name="Frederick King" userId="bb732f183fe92d5e" providerId="LiveId" clId="{E2DCD61D-DC7A-4FDD-B312-815DCBE91D61}" dt="2021-01-12T17:01:31.625" v="2010" actId="571"/>
          <ac:spMkLst>
            <pc:docMk/>
            <pc:sldMk cId="1748074316" sldId="278"/>
            <ac:spMk id="57" creationId="{522D9B97-11D3-49D4-9B9D-1907F2830F50}"/>
          </ac:spMkLst>
        </pc:spChg>
        <pc:spChg chg="add del mod modVis">
          <ac:chgData name="Frederick King" userId="bb732f183fe92d5e" providerId="LiveId" clId="{E2DCD61D-DC7A-4FDD-B312-815DCBE91D61}" dt="2021-01-12T17:04:13.050" v="2075"/>
          <ac:spMkLst>
            <pc:docMk/>
            <pc:sldMk cId="1748074316" sldId="278"/>
            <ac:spMk id="58" creationId="{3D8548D5-E9B3-43FA-A1A0-A52797DB6108}"/>
          </ac:spMkLst>
        </pc:spChg>
        <pc:spChg chg="add del mod modVis">
          <ac:chgData name="Frederick King" userId="bb732f183fe92d5e" providerId="LiveId" clId="{E2DCD61D-DC7A-4FDD-B312-815DCBE91D61}" dt="2021-01-12T17:04:14.037" v="2134"/>
          <ac:spMkLst>
            <pc:docMk/>
            <pc:sldMk cId="1748074316" sldId="278"/>
            <ac:spMk id="60" creationId="{724BEC48-F5EF-401C-A3B9-8B95985C855C}"/>
          </ac:spMkLst>
        </pc:spChg>
        <pc:spChg chg="add mod topLvl">
          <ac:chgData name="Frederick King" userId="bb732f183fe92d5e" providerId="LiveId" clId="{E2DCD61D-DC7A-4FDD-B312-815DCBE91D61}" dt="2021-01-12T17:15:22.327" v="2810" actId="20577"/>
          <ac:spMkLst>
            <pc:docMk/>
            <pc:sldMk cId="1748074316" sldId="278"/>
            <ac:spMk id="62" creationId="{ADAC8C19-5852-44E9-8208-B4AD64521505}"/>
          </ac:spMkLst>
        </pc:spChg>
        <pc:spChg chg="add mod topLvl">
          <ac:chgData name="Frederick King" userId="bb732f183fe92d5e" providerId="LiveId" clId="{E2DCD61D-DC7A-4FDD-B312-815DCBE91D61}" dt="2021-01-12T17:14:40.358" v="2767" actId="1036"/>
          <ac:spMkLst>
            <pc:docMk/>
            <pc:sldMk cId="1748074316" sldId="278"/>
            <ac:spMk id="64" creationId="{7F789656-93BF-4372-A78E-51092AC1F313}"/>
          </ac:spMkLst>
        </pc:spChg>
        <pc:spChg chg="add mod topLvl">
          <ac:chgData name="Frederick King" userId="bb732f183fe92d5e" providerId="LiveId" clId="{E2DCD61D-DC7A-4FDD-B312-815DCBE91D61}" dt="2021-01-12T17:14:10.219" v="2726"/>
          <ac:spMkLst>
            <pc:docMk/>
            <pc:sldMk cId="1748074316" sldId="278"/>
            <ac:spMk id="65" creationId="{11DFD74B-B28E-42D7-9CF8-F3A1B4C19EDC}"/>
          </ac:spMkLst>
        </pc:spChg>
        <pc:spChg chg="add mod topLvl">
          <ac:chgData name="Frederick King" userId="bb732f183fe92d5e" providerId="LiveId" clId="{E2DCD61D-DC7A-4FDD-B312-815DCBE91D61}" dt="2021-01-12T17:15:37.004" v="2816" actId="20577"/>
          <ac:spMkLst>
            <pc:docMk/>
            <pc:sldMk cId="1748074316" sldId="278"/>
            <ac:spMk id="67" creationId="{2B990967-DF2E-4E70-BB61-060D611528E0}"/>
          </ac:spMkLst>
        </pc:spChg>
        <pc:spChg chg="add del mod modVis">
          <ac:chgData name="Frederick King" userId="bb732f183fe92d5e" providerId="LiveId" clId="{E2DCD61D-DC7A-4FDD-B312-815DCBE91D61}" dt="2021-01-12T17:18:14.529" v="2864"/>
          <ac:spMkLst>
            <pc:docMk/>
            <pc:sldMk cId="1748074316" sldId="278"/>
            <ac:spMk id="74" creationId="{69C65404-25D9-4685-BD5F-B379240CDED7}"/>
          </ac:spMkLst>
        </pc:spChg>
        <pc:spChg chg="add del mod modVis">
          <ac:chgData name="Frederick King" userId="bb732f183fe92d5e" providerId="LiveId" clId="{E2DCD61D-DC7A-4FDD-B312-815DCBE91D61}" dt="2021-01-12T17:18:15.099" v="2905"/>
          <ac:spMkLst>
            <pc:docMk/>
            <pc:sldMk cId="1748074316" sldId="278"/>
            <ac:spMk id="75" creationId="{AE74F496-2EF3-4CA3-8DC8-9373B0038D66}"/>
          </ac:spMkLst>
        </pc:spChg>
        <pc:grpChg chg="add del mod">
          <ac:chgData name="Frederick King" userId="bb732f183fe92d5e" providerId="LiveId" clId="{E2DCD61D-DC7A-4FDD-B312-815DCBE91D61}" dt="2021-01-12T16:59:42.225" v="1930" actId="165"/>
          <ac:grpSpMkLst>
            <pc:docMk/>
            <pc:sldMk cId="1748074316" sldId="278"/>
            <ac:grpSpMk id="4" creationId="{6C19FEF6-F747-4410-9643-8AF86961766D}"/>
          </ac:grpSpMkLst>
        </pc:grpChg>
        <pc:grpChg chg="add del mod">
          <ac:chgData name="Frederick King" userId="bb732f183fe92d5e" providerId="LiveId" clId="{E2DCD61D-DC7A-4FDD-B312-815DCBE91D61}" dt="2021-01-12T16:59:42.225" v="1930" actId="165"/>
          <ac:grpSpMkLst>
            <pc:docMk/>
            <pc:sldMk cId="1748074316" sldId="278"/>
            <ac:grpSpMk id="10" creationId="{F46E47CD-8EDB-473C-B28F-CD9853885AD7}"/>
          </ac:grpSpMkLst>
        </pc:grpChg>
        <pc:grpChg chg="add del mod">
          <ac:chgData name="Frederick King" userId="bb732f183fe92d5e" providerId="LiveId" clId="{E2DCD61D-DC7A-4FDD-B312-815DCBE91D61}" dt="2021-01-12T16:59:42.225" v="1930" actId="165"/>
          <ac:grpSpMkLst>
            <pc:docMk/>
            <pc:sldMk cId="1748074316" sldId="278"/>
            <ac:grpSpMk id="16" creationId="{F3EF01F2-8B0E-484B-ADDB-F2F93678F341}"/>
          </ac:grpSpMkLst>
        </pc:grpChg>
        <pc:grpChg chg="add del mod">
          <ac:chgData name="Frederick King" userId="bb732f183fe92d5e" providerId="LiveId" clId="{E2DCD61D-DC7A-4FDD-B312-815DCBE91D61}" dt="2021-01-12T16:59:42.225" v="1930" actId="165"/>
          <ac:grpSpMkLst>
            <pc:docMk/>
            <pc:sldMk cId="1748074316" sldId="278"/>
            <ac:grpSpMk id="22" creationId="{1D52B79F-B8BE-4C6C-809D-36DB25B6AFDF}"/>
          </ac:grpSpMkLst>
        </pc:grpChg>
        <pc:grpChg chg="add del mod">
          <ac:chgData name="Frederick King" userId="bb732f183fe92d5e" providerId="LiveId" clId="{E2DCD61D-DC7A-4FDD-B312-815DCBE91D61}" dt="2021-01-12T16:59:42.225" v="1930" actId="165"/>
          <ac:grpSpMkLst>
            <pc:docMk/>
            <pc:sldMk cId="1748074316" sldId="278"/>
            <ac:grpSpMk id="28" creationId="{3BE80C58-51EB-4C5F-AB2A-A309920B09E6}"/>
          </ac:grpSpMkLst>
        </pc:grpChg>
        <pc:grpChg chg="add del mod">
          <ac:chgData name="Frederick King" userId="bb732f183fe92d5e" providerId="LiveId" clId="{E2DCD61D-DC7A-4FDD-B312-815DCBE91D61}" dt="2021-01-12T16:59:42.225" v="1930" actId="165"/>
          <ac:grpSpMkLst>
            <pc:docMk/>
            <pc:sldMk cId="1748074316" sldId="278"/>
            <ac:grpSpMk id="34" creationId="{BC28CBCC-F64F-46EE-AC92-2B9C724B52CC}"/>
          </ac:grpSpMkLst>
        </pc:grpChg>
        <pc:grpChg chg="add mod">
          <ac:chgData name="Frederick King" userId="bb732f183fe92d5e" providerId="LiveId" clId="{E2DCD61D-DC7A-4FDD-B312-815DCBE91D61}" dt="2021-01-12T17:00:54.075" v="1957" actId="164"/>
          <ac:grpSpMkLst>
            <pc:docMk/>
            <pc:sldMk cId="1748074316" sldId="278"/>
            <ac:grpSpMk id="45" creationId="{41811BE5-FD78-4039-BE3E-DDEC1B9FF3A4}"/>
          </ac:grpSpMkLst>
        </pc:grpChg>
        <pc:grpChg chg="add del mod">
          <ac:chgData name="Frederick King" userId="bb732f183fe92d5e" providerId="LiveId" clId="{E2DCD61D-DC7A-4FDD-B312-815DCBE91D61}" dt="2021-01-12T17:08:34.393" v="2331" actId="165"/>
          <ac:grpSpMkLst>
            <pc:docMk/>
            <pc:sldMk cId="1748074316" sldId="278"/>
            <ac:grpSpMk id="68" creationId="{D241F35E-598B-429B-8259-45D3E8908618}"/>
          </ac:grpSpMkLst>
        </pc:grpChg>
        <pc:grpChg chg="add del mod">
          <ac:chgData name="Frederick King" userId="bb732f183fe92d5e" providerId="LiveId" clId="{E2DCD61D-DC7A-4FDD-B312-815DCBE91D61}" dt="2021-01-12T17:08:34.393" v="2331" actId="165"/>
          <ac:grpSpMkLst>
            <pc:docMk/>
            <pc:sldMk cId="1748074316" sldId="278"/>
            <ac:grpSpMk id="69" creationId="{3F8BC0DF-B4A5-4529-A3B2-58F003D29326}"/>
          </ac:grpSpMkLst>
        </pc:grpChg>
        <pc:grpChg chg="add del mod">
          <ac:chgData name="Frederick King" userId="bb732f183fe92d5e" providerId="LiveId" clId="{E2DCD61D-DC7A-4FDD-B312-815DCBE91D61}" dt="2021-01-12T17:08:34.393" v="2331" actId="165"/>
          <ac:grpSpMkLst>
            <pc:docMk/>
            <pc:sldMk cId="1748074316" sldId="278"/>
            <ac:grpSpMk id="70" creationId="{867C9F46-CC90-49B4-8CF1-BD28BFFCE929}"/>
          </ac:grpSpMkLst>
        </pc:grpChg>
        <pc:grpChg chg="add del mod">
          <ac:chgData name="Frederick King" userId="bb732f183fe92d5e" providerId="LiveId" clId="{E2DCD61D-DC7A-4FDD-B312-815DCBE91D61}" dt="2021-01-12T17:08:34.393" v="2331" actId="165"/>
          <ac:grpSpMkLst>
            <pc:docMk/>
            <pc:sldMk cId="1748074316" sldId="278"/>
            <ac:grpSpMk id="71" creationId="{8F179F13-8B5C-4760-BD5C-D2B44F5B0B0F}"/>
          </ac:grpSpMkLst>
        </pc:grpChg>
        <pc:grpChg chg="add del mod">
          <ac:chgData name="Frederick King" userId="bb732f183fe92d5e" providerId="LiveId" clId="{E2DCD61D-DC7A-4FDD-B312-815DCBE91D61}" dt="2021-01-12T17:08:34.393" v="2331" actId="165"/>
          <ac:grpSpMkLst>
            <pc:docMk/>
            <pc:sldMk cId="1748074316" sldId="278"/>
            <ac:grpSpMk id="72" creationId="{DAC42439-6D14-4E3C-8B06-374355C1FF8D}"/>
          </ac:grpSpMkLst>
        </pc:grpChg>
        <pc:grpChg chg="add del mod">
          <ac:chgData name="Frederick King" userId="bb732f183fe92d5e" providerId="LiveId" clId="{E2DCD61D-DC7A-4FDD-B312-815DCBE91D61}" dt="2021-01-12T17:08:34.393" v="2331" actId="165"/>
          <ac:grpSpMkLst>
            <pc:docMk/>
            <pc:sldMk cId="1748074316" sldId="278"/>
            <ac:grpSpMk id="73" creationId="{5C9657B3-9F1D-459E-ABD6-C7FB4824ED6D}"/>
          </ac:grpSpMkLst>
        </pc:grpChg>
        <pc:graphicFrameChg chg="add mod ord modVis">
          <ac:chgData name="Frederick King" userId="bb732f183fe92d5e" providerId="LiveId" clId="{E2DCD61D-DC7A-4FDD-B312-815DCBE91D61}" dt="2021-01-12T17:18:15.099" v="2907"/>
          <ac:graphicFrameMkLst>
            <pc:docMk/>
            <pc:sldMk cId="1748074316" sldId="278"/>
            <ac:graphicFrameMk id="59" creationId="{60528071-3734-46B2-8DCF-360C1F77A786}"/>
          </ac:graphicFrameMkLst>
        </pc:graphicFrameChg>
        <pc:cxnChg chg="mod topLvl">
          <ac:chgData name="Frederick King" userId="bb732f183fe92d5e" providerId="LiveId" clId="{E2DCD61D-DC7A-4FDD-B312-815DCBE91D61}" dt="2021-01-12T17:08:34.393" v="2331" actId="165"/>
          <ac:cxnSpMkLst>
            <pc:docMk/>
            <pc:sldMk cId="1748074316" sldId="278"/>
            <ac:cxnSpMk id="5" creationId="{24810186-5EB5-4EC5-B90A-1F723244C188}"/>
          </ac:cxnSpMkLst>
        </pc:cxnChg>
        <pc:cxnChg chg="mod topLvl">
          <ac:chgData name="Frederick King" userId="bb732f183fe92d5e" providerId="LiveId" clId="{E2DCD61D-DC7A-4FDD-B312-815DCBE91D61}" dt="2021-01-12T17:08:34.393" v="2331" actId="165"/>
          <ac:cxnSpMkLst>
            <pc:docMk/>
            <pc:sldMk cId="1748074316" sldId="278"/>
            <ac:cxnSpMk id="6" creationId="{0E3FEF84-13CB-4831-BC45-0F3FC6CE4DE1}"/>
          </ac:cxnSpMkLst>
        </pc:cxnChg>
        <pc:cxnChg chg="mod topLvl">
          <ac:chgData name="Frederick King" userId="bb732f183fe92d5e" providerId="LiveId" clId="{E2DCD61D-DC7A-4FDD-B312-815DCBE91D61}" dt="2021-01-12T17:08:34.393" v="2331" actId="165"/>
          <ac:cxnSpMkLst>
            <pc:docMk/>
            <pc:sldMk cId="1748074316" sldId="278"/>
            <ac:cxnSpMk id="7" creationId="{798EBC30-BE46-499B-8866-1D95CBA4AE54}"/>
          </ac:cxnSpMkLst>
        </pc:cxnChg>
        <pc:cxnChg chg="mod topLvl">
          <ac:chgData name="Frederick King" userId="bb732f183fe92d5e" providerId="LiveId" clId="{E2DCD61D-DC7A-4FDD-B312-815DCBE91D61}" dt="2021-01-12T17:08:34.393" v="2331" actId="165"/>
          <ac:cxnSpMkLst>
            <pc:docMk/>
            <pc:sldMk cId="1748074316" sldId="278"/>
            <ac:cxnSpMk id="8" creationId="{E502F8DC-3EB2-4B4D-A40D-7A8061320263}"/>
          </ac:cxnSpMkLst>
        </pc:cxnChg>
        <pc:cxnChg chg="mod topLvl">
          <ac:chgData name="Frederick King" userId="bb732f183fe92d5e" providerId="LiveId" clId="{E2DCD61D-DC7A-4FDD-B312-815DCBE91D61}" dt="2021-01-12T17:08:34.393" v="2331" actId="165"/>
          <ac:cxnSpMkLst>
            <pc:docMk/>
            <pc:sldMk cId="1748074316" sldId="278"/>
            <ac:cxnSpMk id="9" creationId="{0CE567DF-D429-4A22-B3F0-39AD8A95BE51}"/>
          </ac:cxnSpMkLst>
        </pc:cxnChg>
        <pc:cxnChg chg="mod topLvl">
          <ac:chgData name="Frederick King" userId="bb732f183fe92d5e" providerId="LiveId" clId="{E2DCD61D-DC7A-4FDD-B312-815DCBE91D61}" dt="2021-01-12T17:14:40.358" v="2767" actId="1036"/>
          <ac:cxnSpMkLst>
            <pc:docMk/>
            <pc:sldMk cId="1748074316" sldId="278"/>
            <ac:cxnSpMk id="17" creationId="{28A0CB08-88D8-4B6E-AE0F-BC91F6DED8CD}"/>
          </ac:cxnSpMkLst>
        </pc:cxnChg>
        <pc:cxnChg chg="mod topLvl">
          <ac:chgData name="Frederick King" userId="bb732f183fe92d5e" providerId="LiveId" clId="{E2DCD61D-DC7A-4FDD-B312-815DCBE91D61}" dt="2021-01-12T17:14:40.358" v="2767" actId="1036"/>
          <ac:cxnSpMkLst>
            <pc:docMk/>
            <pc:sldMk cId="1748074316" sldId="278"/>
            <ac:cxnSpMk id="18" creationId="{FEC01CF5-D336-474A-AC9D-27A406062D57}"/>
          </ac:cxnSpMkLst>
        </pc:cxnChg>
        <pc:cxnChg chg="mod topLvl">
          <ac:chgData name="Frederick King" userId="bb732f183fe92d5e" providerId="LiveId" clId="{E2DCD61D-DC7A-4FDD-B312-815DCBE91D61}" dt="2021-01-12T17:14:40.358" v="2767" actId="1036"/>
          <ac:cxnSpMkLst>
            <pc:docMk/>
            <pc:sldMk cId="1748074316" sldId="278"/>
            <ac:cxnSpMk id="19" creationId="{AA210E3D-8601-4A15-A168-FFD512173806}"/>
          </ac:cxnSpMkLst>
        </pc:cxnChg>
        <pc:cxnChg chg="mod topLvl">
          <ac:chgData name="Frederick King" userId="bb732f183fe92d5e" providerId="LiveId" clId="{E2DCD61D-DC7A-4FDD-B312-815DCBE91D61}" dt="2021-01-12T17:14:40.358" v="2767" actId="1036"/>
          <ac:cxnSpMkLst>
            <pc:docMk/>
            <pc:sldMk cId="1748074316" sldId="278"/>
            <ac:cxnSpMk id="20" creationId="{785DA103-C204-4CBF-B5A4-82F8333E1F03}"/>
          </ac:cxnSpMkLst>
        </pc:cxnChg>
        <pc:cxnChg chg="mod topLvl">
          <ac:chgData name="Frederick King" userId="bb732f183fe92d5e" providerId="LiveId" clId="{E2DCD61D-DC7A-4FDD-B312-815DCBE91D61}" dt="2021-01-12T17:14:40.358" v="2767" actId="1036"/>
          <ac:cxnSpMkLst>
            <pc:docMk/>
            <pc:sldMk cId="1748074316" sldId="278"/>
            <ac:cxnSpMk id="21" creationId="{98471789-DD7A-4934-A3D4-9378910C20D3}"/>
          </ac:cxnSpMkLst>
        </pc:cxnChg>
        <pc:cxnChg chg="mod topLvl">
          <ac:chgData name="Frederick King" userId="bb732f183fe92d5e" providerId="LiveId" clId="{E2DCD61D-DC7A-4FDD-B312-815DCBE91D61}" dt="2021-01-12T17:08:34.393" v="2331" actId="165"/>
          <ac:cxnSpMkLst>
            <pc:docMk/>
            <pc:sldMk cId="1748074316" sldId="278"/>
            <ac:cxnSpMk id="35" creationId="{FA29661A-2C62-4E12-880B-E4CCE7F20216}"/>
          </ac:cxnSpMkLst>
        </pc:cxnChg>
        <pc:cxnChg chg="mod topLvl">
          <ac:chgData name="Frederick King" userId="bb732f183fe92d5e" providerId="LiveId" clId="{E2DCD61D-DC7A-4FDD-B312-815DCBE91D61}" dt="2021-01-12T17:08:34.393" v="2331" actId="165"/>
          <ac:cxnSpMkLst>
            <pc:docMk/>
            <pc:sldMk cId="1748074316" sldId="278"/>
            <ac:cxnSpMk id="36" creationId="{693D6269-4939-44E7-83B4-5054116F7F76}"/>
          </ac:cxnSpMkLst>
        </pc:cxnChg>
        <pc:cxnChg chg="mod topLvl">
          <ac:chgData name="Frederick King" userId="bb732f183fe92d5e" providerId="LiveId" clId="{E2DCD61D-DC7A-4FDD-B312-815DCBE91D61}" dt="2021-01-12T17:08:34.393" v="2331" actId="165"/>
          <ac:cxnSpMkLst>
            <pc:docMk/>
            <pc:sldMk cId="1748074316" sldId="278"/>
            <ac:cxnSpMk id="38" creationId="{2B06A78E-04C9-42D1-A96E-3B8F63482527}"/>
          </ac:cxnSpMkLst>
        </pc:cxnChg>
        <pc:cxnChg chg="mod topLvl">
          <ac:chgData name="Frederick King" userId="bb732f183fe92d5e" providerId="LiveId" clId="{E2DCD61D-DC7A-4FDD-B312-815DCBE91D61}" dt="2021-01-12T17:08:34.393" v="2331" actId="165"/>
          <ac:cxnSpMkLst>
            <pc:docMk/>
            <pc:sldMk cId="1748074316" sldId="278"/>
            <ac:cxnSpMk id="40" creationId="{55700AFF-6FCB-4E56-96D3-8FE42829FD01}"/>
          </ac:cxnSpMkLst>
        </pc:cxnChg>
        <pc:cxnChg chg="mod topLvl">
          <ac:chgData name="Frederick King" userId="bb732f183fe92d5e" providerId="LiveId" clId="{E2DCD61D-DC7A-4FDD-B312-815DCBE91D61}" dt="2021-01-12T17:08:34.393" v="2331" actId="165"/>
          <ac:cxnSpMkLst>
            <pc:docMk/>
            <pc:sldMk cId="1748074316" sldId="278"/>
            <ac:cxnSpMk id="42" creationId="{DDF335E4-E337-43A6-9997-DE015ED2F3CB}"/>
          </ac:cxnSpMkLst>
        </pc:cxnChg>
        <pc:cxnChg chg="add mod topLvl">
          <ac:chgData name="Frederick King" userId="bb732f183fe92d5e" providerId="LiveId" clId="{E2DCD61D-DC7A-4FDD-B312-815DCBE91D61}" dt="2021-01-12T17:08:34.393" v="2331" actId="165"/>
          <ac:cxnSpMkLst>
            <pc:docMk/>
            <pc:sldMk cId="1748074316" sldId="278"/>
            <ac:cxnSpMk id="61" creationId="{63D72001-80CE-428D-8ADA-334A04982E61}"/>
          </ac:cxnSpMkLst>
        </pc:cxnChg>
        <pc:cxnChg chg="add mod topLvl">
          <ac:chgData name="Frederick King" userId="bb732f183fe92d5e" providerId="LiveId" clId="{E2DCD61D-DC7A-4FDD-B312-815DCBE91D61}" dt="2021-01-12T17:14:40.358" v="2767" actId="1036"/>
          <ac:cxnSpMkLst>
            <pc:docMk/>
            <pc:sldMk cId="1748074316" sldId="278"/>
            <ac:cxnSpMk id="63" creationId="{813F859D-BB88-4A23-984A-84AFA94C2FAF}"/>
          </ac:cxnSpMkLst>
        </pc:cxnChg>
        <pc:cxnChg chg="add mod topLvl">
          <ac:chgData name="Frederick King" userId="bb732f183fe92d5e" providerId="LiveId" clId="{E2DCD61D-DC7A-4FDD-B312-815DCBE91D61}" dt="2021-01-12T17:08:34.393" v="2331" actId="165"/>
          <ac:cxnSpMkLst>
            <pc:docMk/>
            <pc:sldMk cId="1748074316" sldId="278"/>
            <ac:cxnSpMk id="66" creationId="{5FDEFA49-4A07-44DE-8D0C-EB36C0D57718}"/>
          </ac:cxnSpMkLst>
        </pc:cxnChg>
      </pc:sldChg>
      <pc:sldChg chg="addSp delSp modSp add mod">
        <pc:chgData name="Frederick King" userId="bb732f183fe92d5e" providerId="LiveId" clId="{E2DCD61D-DC7A-4FDD-B312-815DCBE91D61}" dt="2021-01-13T14:59:07.027" v="8071" actId="313"/>
        <pc:sldMkLst>
          <pc:docMk/>
          <pc:sldMk cId="1768867071" sldId="279"/>
        </pc:sldMkLst>
        <pc:spChg chg="mod">
          <ac:chgData name="Frederick King" userId="bb732f183fe92d5e" providerId="LiveId" clId="{E2DCD61D-DC7A-4FDD-B312-815DCBE91D61}" dt="2021-01-13T12:12:58.468" v="3100" actId="948"/>
          <ac:spMkLst>
            <pc:docMk/>
            <pc:sldMk cId="1768867071" sldId="279"/>
            <ac:spMk id="2" creationId="{294BDE24-F7BA-44EF-8B87-377957F26EE4}"/>
          </ac:spMkLst>
        </pc:spChg>
        <pc:spChg chg="add del mod modVis">
          <ac:chgData name="Frederick King" userId="bb732f183fe92d5e" providerId="LiveId" clId="{E2DCD61D-DC7A-4FDD-B312-815DCBE91D61}" dt="2021-01-13T12:09:12.916" v="2953"/>
          <ac:spMkLst>
            <pc:docMk/>
            <pc:sldMk cId="1768867071" sldId="279"/>
            <ac:spMk id="3" creationId="{C7A9C151-8D27-4305-99AD-15988AF7ACA5}"/>
          </ac:spMkLst>
        </pc:spChg>
        <pc:spChg chg="mod topLvl">
          <ac:chgData name="Frederick King" userId="bb732f183fe92d5e" providerId="LiveId" clId="{E2DCD61D-DC7A-4FDD-B312-815DCBE91D61}" dt="2021-01-13T12:14:15.712" v="3153" actId="20577"/>
          <ac:spMkLst>
            <pc:docMk/>
            <pc:sldMk cId="1768867071" sldId="279"/>
            <ac:spMk id="11" creationId="{FFDF53E5-240B-4BBD-A18D-68BEA114263F}"/>
          </ac:spMkLst>
        </pc:spChg>
        <pc:spChg chg="mod topLvl">
          <ac:chgData name="Frederick King" userId="bb732f183fe92d5e" providerId="LiveId" clId="{E2DCD61D-DC7A-4FDD-B312-815DCBE91D61}" dt="2021-01-13T12:57:47.288" v="4500" actId="20577"/>
          <ac:spMkLst>
            <pc:docMk/>
            <pc:sldMk cId="1768867071" sldId="279"/>
            <ac:spMk id="12" creationId="{3E9568C4-2F73-431F-BCA3-7F21F3E917A5}"/>
          </ac:spMkLst>
        </pc:spChg>
        <pc:spChg chg="mod topLvl">
          <ac:chgData name="Frederick King" userId="bb732f183fe92d5e" providerId="LiveId" clId="{E2DCD61D-DC7A-4FDD-B312-815DCBE91D61}" dt="2021-01-13T12:20:57.706" v="3616" actId="115"/>
          <ac:spMkLst>
            <pc:docMk/>
            <pc:sldMk cId="1768867071" sldId="279"/>
            <ac:spMk id="13" creationId="{6B73DDB1-2066-4A3A-95F1-DABE0D56E66D}"/>
          </ac:spMkLst>
        </pc:spChg>
        <pc:spChg chg="del">
          <ac:chgData name="Frederick King" userId="bb732f183fe92d5e" providerId="LiveId" clId="{E2DCD61D-DC7A-4FDD-B312-815DCBE91D61}" dt="2021-01-13T12:10:56.905" v="2985" actId="478"/>
          <ac:spMkLst>
            <pc:docMk/>
            <pc:sldMk cId="1768867071" sldId="279"/>
            <ac:spMk id="14" creationId="{CC7F3408-1F0D-4332-A29F-21E0FBFC00CC}"/>
          </ac:spMkLst>
        </pc:spChg>
        <pc:spChg chg="del">
          <ac:chgData name="Frederick King" userId="bb732f183fe92d5e" providerId="LiveId" clId="{E2DCD61D-DC7A-4FDD-B312-815DCBE91D61}" dt="2021-01-13T12:10:56.905" v="2985" actId="478"/>
          <ac:spMkLst>
            <pc:docMk/>
            <pc:sldMk cId="1768867071" sldId="279"/>
            <ac:spMk id="15" creationId="{5E240199-E68D-46CE-A2FB-3A60E32A3E72}"/>
          </ac:spMkLst>
        </pc:spChg>
        <pc:spChg chg="add del mod modVis">
          <ac:chgData name="Frederick King" userId="bb732f183fe92d5e" providerId="LiveId" clId="{E2DCD61D-DC7A-4FDD-B312-815DCBE91D61}" dt="2021-01-13T12:11:55.610" v="3063"/>
          <ac:spMkLst>
            <pc:docMk/>
            <pc:sldMk cId="1768867071" sldId="279"/>
            <ac:spMk id="16" creationId="{FCDD01EB-BF58-492C-AAEC-4F7ED95B313A}"/>
          </ac:spMkLst>
        </pc:spChg>
        <pc:spChg chg="add del mod modVis">
          <ac:chgData name="Frederick King" userId="bb732f183fe92d5e" providerId="LiveId" clId="{E2DCD61D-DC7A-4FDD-B312-815DCBE91D61}" dt="2021-01-13T12:12:58.515" v="3137"/>
          <ac:spMkLst>
            <pc:docMk/>
            <pc:sldMk cId="1768867071" sldId="279"/>
            <ac:spMk id="22" creationId="{23730262-6AF7-4E8A-AE2A-46206B34285A}"/>
          </ac:spMkLst>
        </pc:spChg>
        <pc:spChg chg="mod topLvl">
          <ac:chgData name="Frederick King" userId="bb732f183fe92d5e" providerId="LiveId" clId="{E2DCD61D-DC7A-4FDD-B312-815DCBE91D61}" dt="2021-01-13T12:21:48.067" v="3632" actId="20577"/>
          <ac:spMkLst>
            <pc:docMk/>
            <pc:sldMk cId="1768867071" sldId="279"/>
            <ac:spMk id="23" creationId="{B06E75AC-6E6E-4B9F-849A-4F8422C00627}"/>
          </ac:spMkLst>
        </pc:spChg>
        <pc:spChg chg="mod topLvl">
          <ac:chgData name="Frederick King" userId="bb732f183fe92d5e" providerId="LiveId" clId="{E2DCD61D-DC7A-4FDD-B312-815DCBE91D61}" dt="2021-01-13T12:27:52.949" v="4104" actId="20577"/>
          <ac:spMkLst>
            <pc:docMk/>
            <pc:sldMk cId="1768867071" sldId="279"/>
            <ac:spMk id="24" creationId="{133E0348-3C9C-4A18-98A3-EDA16E4149FA}"/>
          </ac:spMkLst>
        </pc:spChg>
        <pc:spChg chg="mod topLvl">
          <ac:chgData name="Frederick King" userId="bb732f183fe92d5e" providerId="LiveId" clId="{E2DCD61D-DC7A-4FDD-B312-815DCBE91D61}" dt="2021-01-13T12:26:38.680" v="3957" actId="20577"/>
          <ac:spMkLst>
            <pc:docMk/>
            <pc:sldMk cId="1768867071" sldId="279"/>
            <ac:spMk id="25" creationId="{91446B96-94A7-4D02-930C-E0C259D5B228}"/>
          </ac:spMkLst>
        </pc:spChg>
        <pc:spChg chg="del">
          <ac:chgData name="Frederick King" userId="bb732f183fe92d5e" providerId="LiveId" clId="{E2DCD61D-DC7A-4FDD-B312-815DCBE91D61}" dt="2021-01-13T12:10:56.905" v="2985" actId="478"/>
          <ac:spMkLst>
            <pc:docMk/>
            <pc:sldMk cId="1768867071" sldId="279"/>
            <ac:spMk id="26" creationId="{17EFD8FB-7576-4007-8585-B1B95444D882}"/>
          </ac:spMkLst>
        </pc:spChg>
        <pc:spChg chg="del">
          <ac:chgData name="Frederick King" userId="bb732f183fe92d5e" providerId="LiveId" clId="{E2DCD61D-DC7A-4FDD-B312-815DCBE91D61}" dt="2021-01-13T12:10:56.905" v="2985" actId="478"/>
          <ac:spMkLst>
            <pc:docMk/>
            <pc:sldMk cId="1768867071" sldId="279"/>
            <ac:spMk id="27" creationId="{1C647731-A1FC-47C8-9927-B5ECF6D22EA8}"/>
          </ac:spMkLst>
        </pc:spChg>
        <pc:spChg chg="mod topLvl">
          <ac:chgData name="Frederick King" userId="bb732f183fe92d5e" providerId="LiveId" clId="{E2DCD61D-DC7A-4FDD-B312-815DCBE91D61}" dt="2021-01-13T12:13:45.001" v="3143" actId="165"/>
          <ac:spMkLst>
            <pc:docMk/>
            <pc:sldMk cId="1768867071" sldId="279"/>
            <ac:spMk id="29" creationId="{634CF29F-DF29-4B18-887A-8D2AA002A02E}"/>
          </ac:spMkLst>
        </pc:spChg>
        <pc:spChg chg="mod topLvl">
          <ac:chgData name="Frederick King" userId="bb732f183fe92d5e" providerId="LiveId" clId="{E2DCD61D-DC7A-4FDD-B312-815DCBE91D61}" dt="2021-01-13T12:13:45.001" v="3143" actId="165"/>
          <ac:spMkLst>
            <pc:docMk/>
            <pc:sldMk cId="1768867071" sldId="279"/>
            <ac:spMk id="30" creationId="{749CC772-1CE3-4426-A136-8BCE6E6E4CD4}"/>
          </ac:spMkLst>
        </pc:spChg>
        <pc:spChg chg="mod topLvl">
          <ac:chgData name="Frederick King" userId="bb732f183fe92d5e" providerId="LiveId" clId="{E2DCD61D-DC7A-4FDD-B312-815DCBE91D61}" dt="2021-01-13T12:13:45.001" v="3143" actId="165"/>
          <ac:spMkLst>
            <pc:docMk/>
            <pc:sldMk cId="1768867071" sldId="279"/>
            <ac:spMk id="31" creationId="{689473DE-0C40-4D4F-9E70-AF73EB78813B}"/>
          </ac:spMkLst>
        </pc:spChg>
        <pc:spChg chg="del">
          <ac:chgData name="Frederick King" userId="bb732f183fe92d5e" providerId="LiveId" clId="{E2DCD61D-DC7A-4FDD-B312-815DCBE91D61}" dt="2021-01-13T12:10:56.905" v="2985" actId="478"/>
          <ac:spMkLst>
            <pc:docMk/>
            <pc:sldMk cId="1768867071" sldId="279"/>
            <ac:spMk id="32" creationId="{D0FCD157-68D3-498D-82A9-5F37549A361B}"/>
          </ac:spMkLst>
        </pc:spChg>
        <pc:spChg chg="del">
          <ac:chgData name="Frederick King" userId="bb732f183fe92d5e" providerId="LiveId" clId="{E2DCD61D-DC7A-4FDD-B312-815DCBE91D61}" dt="2021-01-13T12:10:56.905" v="2985" actId="478"/>
          <ac:spMkLst>
            <pc:docMk/>
            <pc:sldMk cId="1768867071" sldId="279"/>
            <ac:spMk id="33" creationId="{95ACF374-ADAD-455F-AD13-EBE66FD9AA76}"/>
          </ac:spMkLst>
        </pc:spChg>
        <pc:spChg chg="mod topLvl">
          <ac:chgData name="Frederick King" userId="bb732f183fe92d5e" providerId="LiveId" clId="{E2DCD61D-DC7A-4FDD-B312-815DCBE91D61}" dt="2021-01-13T12:13:45.001" v="3143" actId="165"/>
          <ac:spMkLst>
            <pc:docMk/>
            <pc:sldMk cId="1768867071" sldId="279"/>
            <ac:spMk id="37" creationId="{5A185F24-26A4-412E-B5BD-C0E815437B80}"/>
          </ac:spMkLst>
        </pc:spChg>
        <pc:spChg chg="mod topLvl">
          <ac:chgData name="Frederick King" userId="bb732f183fe92d5e" providerId="LiveId" clId="{E2DCD61D-DC7A-4FDD-B312-815DCBE91D61}" dt="2021-01-13T12:13:45.001" v="3143" actId="165"/>
          <ac:spMkLst>
            <pc:docMk/>
            <pc:sldMk cId="1768867071" sldId="279"/>
            <ac:spMk id="39" creationId="{100895F7-35D4-42A3-BA8D-1E0FCBC79D12}"/>
          </ac:spMkLst>
        </pc:spChg>
        <pc:spChg chg="del">
          <ac:chgData name="Frederick King" userId="bb732f183fe92d5e" providerId="LiveId" clId="{E2DCD61D-DC7A-4FDD-B312-815DCBE91D61}" dt="2021-01-13T12:10:56.905" v="2985" actId="478"/>
          <ac:spMkLst>
            <pc:docMk/>
            <pc:sldMk cId="1768867071" sldId="279"/>
            <ac:spMk id="41" creationId="{187B131B-17BD-4DFF-A9BD-C7156E18A12D}"/>
          </ac:spMkLst>
        </pc:spChg>
        <pc:spChg chg="del">
          <ac:chgData name="Frederick King" userId="bb732f183fe92d5e" providerId="LiveId" clId="{E2DCD61D-DC7A-4FDD-B312-815DCBE91D61}" dt="2021-01-13T12:10:56.905" v="2985" actId="478"/>
          <ac:spMkLst>
            <pc:docMk/>
            <pc:sldMk cId="1768867071" sldId="279"/>
            <ac:spMk id="43" creationId="{2888DE59-C99E-4C31-98A2-C4033D1988E7}"/>
          </ac:spMkLst>
        </pc:spChg>
        <pc:spChg chg="mod topLvl">
          <ac:chgData name="Frederick King" userId="bb732f183fe92d5e" providerId="LiveId" clId="{E2DCD61D-DC7A-4FDD-B312-815DCBE91D61}" dt="2021-01-13T12:13:45.001" v="3143" actId="165"/>
          <ac:spMkLst>
            <pc:docMk/>
            <pc:sldMk cId="1768867071" sldId="279"/>
            <ac:spMk id="44" creationId="{1704750D-AE15-427C-9A77-C4CF3C47F9AB}"/>
          </ac:spMkLst>
        </pc:spChg>
        <pc:spChg chg="add mod">
          <ac:chgData name="Frederick King" userId="bb732f183fe92d5e" providerId="LiveId" clId="{E2DCD61D-DC7A-4FDD-B312-815DCBE91D61}" dt="2021-01-13T14:59:07.027" v="8071" actId="313"/>
          <ac:spMkLst>
            <pc:docMk/>
            <pc:sldMk cId="1768867071" sldId="279"/>
            <ac:spMk id="45" creationId="{B5DFE415-6F3F-4C38-8B86-8CFB5BAC9045}"/>
          </ac:spMkLst>
        </pc:spChg>
        <pc:spChg chg="add mod">
          <ac:chgData name="Frederick King" userId="bb732f183fe92d5e" providerId="LiveId" clId="{E2DCD61D-DC7A-4FDD-B312-815DCBE91D61}" dt="2021-01-13T12:47:31.886" v="4270" actId="20577"/>
          <ac:spMkLst>
            <pc:docMk/>
            <pc:sldMk cId="1768867071" sldId="279"/>
            <ac:spMk id="53" creationId="{A45BCA5B-8156-48B6-9183-969F3F5A445B}"/>
          </ac:spMkLst>
        </pc:spChg>
        <pc:spChg chg="add mod">
          <ac:chgData name="Frederick King" userId="bb732f183fe92d5e" providerId="LiveId" clId="{E2DCD61D-DC7A-4FDD-B312-815DCBE91D61}" dt="2021-01-13T12:23:42.429" v="3823"/>
          <ac:spMkLst>
            <pc:docMk/>
            <pc:sldMk cId="1768867071" sldId="279"/>
            <ac:spMk id="55" creationId="{7A96488F-37BD-437D-AB4D-BFC174D54A61}"/>
          </ac:spMkLst>
        </pc:spChg>
        <pc:spChg chg="add mod">
          <ac:chgData name="Frederick King" userId="bb732f183fe92d5e" providerId="LiveId" clId="{E2DCD61D-DC7A-4FDD-B312-815DCBE91D61}" dt="2021-01-13T12:47:04.993" v="4196" actId="20577"/>
          <ac:spMkLst>
            <pc:docMk/>
            <pc:sldMk cId="1768867071" sldId="279"/>
            <ac:spMk id="57" creationId="{9BDB8254-6D87-48A8-AE0F-1D65B4D290DA}"/>
          </ac:spMkLst>
        </pc:spChg>
        <pc:spChg chg="add mod">
          <ac:chgData name="Frederick King" userId="bb732f183fe92d5e" providerId="LiveId" clId="{E2DCD61D-DC7A-4FDD-B312-815DCBE91D61}" dt="2021-01-13T12:27:59.658" v="4106"/>
          <ac:spMkLst>
            <pc:docMk/>
            <pc:sldMk cId="1768867071" sldId="279"/>
            <ac:spMk id="58" creationId="{12489640-03DC-48A7-B791-E6D883560A8F}"/>
          </ac:spMkLst>
        </pc:spChg>
        <pc:spChg chg="del">
          <ac:chgData name="Frederick King" userId="bb732f183fe92d5e" providerId="LiveId" clId="{E2DCD61D-DC7A-4FDD-B312-815DCBE91D61}" dt="2021-01-13T12:10:56.905" v="2985" actId="478"/>
          <ac:spMkLst>
            <pc:docMk/>
            <pc:sldMk cId="1768867071" sldId="279"/>
            <ac:spMk id="62" creationId="{ADAC8C19-5852-44E9-8208-B4AD64521505}"/>
          </ac:spMkLst>
        </pc:spChg>
        <pc:spChg chg="del">
          <ac:chgData name="Frederick King" userId="bb732f183fe92d5e" providerId="LiveId" clId="{E2DCD61D-DC7A-4FDD-B312-815DCBE91D61}" dt="2021-01-13T12:10:56.905" v="2985" actId="478"/>
          <ac:spMkLst>
            <pc:docMk/>
            <pc:sldMk cId="1768867071" sldId="279"/>
            <ac:spMk id="64" creationId="{7F789656-93BF-4372-A78E-51092AC1F313}"/>
          </ac:spMkLst>
        </pc:spChg>
        <pc:spChg chg="del">
          <ac:chgData name="Frederick King" userId="bb732f183fe92d5e" providerId="LiveId" clId="{E2DCD61D-DC7A-4FDD-B312-815DCBE91D61}" dt="2021-01-13T12:10:56.905" v="2985" actId="478"/>
          <ac:spMkLst>
            <pc:docMk/>
            <pc:sldMk cId="1768867071" sldId="279"/>
            <ac:spMk id="65" creationId="{11DFD74B-B28E-42D7-9CF8-F3A1B4C19EDC}"/>
          </ac:spMkLst>
        </pc:spChg>
        <pc:spChg chg="del">
          <ac:chgData name="Frederick King" userId="bb732f183fe92d5e" providerId="LiveId" clId="{E2DCD61D-DC7A-4FDD-B312-815DCBE91D61}" dt="2021-01-13T12:10:56.905" v="2985" actId="478"/>
          <ac:spMkLst>
            <pc:docMk/>
            <pc:sldMk cId="1768867071" sldId="279"/>
            <ac:spMk id="67" creationId="{2B990967-DF2E-4E70-BB61-060D611528E0}"/>
          </ac:spMkLst>
        </pc:spChg>
        <pc:grpChg chg="add del mod">
          <ac:chgData name="Frederick King" userId="bb732f183fe92d5e" providerId="LiveId" clId="{E2DCD61D-DC7A-4FDD-B312-815DCBE91D61}" dt="2021-01-13T12:13:45.001" v="3143" actId="165"/>
          <ac:grpSpMkLst>
            <pc:docMk/>
            <pc:sldMk cId="1768867071" sldId="279"/>
            <ac:grpSpMk id="4" creationId="{45019E35-E812-4983-9E39-D45440AB8459}"/>
          </ac:grpSpMkLst>
        </pc:grpChg>
        <pc:grpChg chg="add del mod">
          <ac:chgData name="Frederick King" userId="bb732f183fe92d5e" providerId="LiveId" clId="{E2DCD61D-DC7A-4FDD-B312-815DCBE91D61}" dt="2021-01-13T12:13:45.001" v="3143" actId="165"/>
          <ac:grpSpMkLst>
            <pc:docMk/>
            <pc:sldMk cId="1768867071" sldId="279"/>
            <ac:grpSpMk id="10" creationId="{0133ED3B-50E1-4149-B8D6-0C18AF8E3ADF}"/>
          </ac:grpSpMkLst>
        </pc:grpChg>
        <pc:grpChg chg="add del mod">
          <ac:chgData name="Frederick King" userId="bb732f183fe92d5e" providerId="LiveId" clId="{E2DCD61D-DC7A-4FDD-B312-815DCBE91D61}" dt="2021-01-13T12:13:45.001" v="3143" actId="165"/>
          <ac:grpSpMkLst>
            <pc:docMk/>
            <pc:sldMk cId="1768867071" sldId="279"/>
            <ac:grpSpMk id="28" creationId="{8FE1215E-7BD8-4282-81E9-7E86B2413D4A}"/>
          </ac:grpSpMkLst>
        </pc:grpChg>
        <pc:graphicFrameChg chg="mod">
          <ac:chgData name="Frederick King" userId="bb732f183fe92d5e" providerId="LiveId" clId="{E2DCD61D-DC7A-4FDD-B312-815DCBE91D61}" dt="2021-01-13T12:12:58.515" v="3139"/>
          <ac:graphicFrameMkLst>
            <pc:docMk/>
            <pc:sldMk cId="1768867071" sldId="279"/>
            <ac:graphicFrameMk id="59" creationId="{60528071-3734-46B2-8DCF-360C1F77A786}"/>
          </ac:graphicFrameMkLst>
        </pc:graphicFrameChg>
        <pc:cxnChg chg="mod topLvl">
          <ac:chgData name="Frederick King" userId="bb732f183fe92d5e" providerId="LiveId" clId="{E2DCD61D-DC7A-4FDD-B312-815DCBE91D61}" dt="2021-01-13T12:13:45.001" v="3143" actId="165"/>
          <ac:cxnSpMkLst>
            <pc:docMk/>
            <pc:sldMk cId="1768867071" sldId="279"/>
            <ac:cxnSpMk id="5" creationId="{24810186-5EB5-4EC5-B90A-1F723244C188}"/>
          </ac:cxnSpMkLst>
        </pc:cxnChg>
        <pc:cxnChg chg="mod topLvl">
          <ac:chgData name="Frederick King" userId="bb732f183fe92d5e" providerId="LiveId" clId="{E2DCD61D-DC7A-4FDD-B312-815DCBE91D61}" dt="2021-01-13T12:13:45.001" v="3143" actId="165"/>
          <ac:cxnSpMkLst>
            <pc:docMk/>
            <pc:sldMk cId="1768867071" sldId="279"/>
            <ac:cxnSpMk id="6" creationId="{0E3FEF84-13CB-4831-BC45-0F3FC6CE4DE1}"/>
          </ac:cxnSpMkLst>
        </pc:cxnChg>
        <pc:cxnChg chg="mod topLvl">
          <ac:chgData name="Frederick King" userId="bb732f183fe92d5e" providerId="LiveId" clId="{E2DCD61D-DC7A-4FDD-B312-815DCBE91D61}" dt="2021-01-13T12:13:45.001" v="3143" actId="165"/>
          <ac:cxnSpMkLst>
            <pc:docMk/>
            <pc:sldMk cId="1768867071" sldId="279"/>
            <ac:cxnSpMk id="7" creationId="{798EBC30-BE46-499B-8866-1D95CBA4AE54}"/>
          </ac:cxnSpMkLst>
        </pc:cxnChg>
        <pc:cxnChg chg="del">
          <ac:chgData name="Frederick King" userId="bb732f183fe92d5e" providerId="LiveId" clId="{E2DCD61D-DC7A-4FDD-B312-815DCBE91D61}" dt="2021-01-13T12:10:56.905" v="2985" actId="478"/>
          <ac:cxnSpMkLst>
            <pc:docMk/>
            <pc:sldMk cId="1768867071" sldId="279"/>
            <ac:cxnSpMk id="8" creationId="{E502F8DC-3EB2-4B4D-A40D-7A8061320263}"/>
          </ac:cxnSpMkLst>
        </pc:cxnChg>
        <pc:cxnChg chg="del">
          <ac:chgData name="Frederick King" userId="bb732f183fe92d5e" providerId="LiveId" clId="{E2DCD61D-DC7A-4FDD-B312-815DCBE91D61}" dt="2021-01-13T12:10:56.905" v="2985" actId="478"/>
          <ac:cxnSpMkLst>
            <pc:docMk/>
            <pc:sldMk cId="1768867071" sldId="279"/>
            <ac:cxnSpMk id="9" creationId="{0CE567DF-D429-4A22-B3F0-39AD8A95BE51}"/>
          </ac:cxnSpMkLst>
        </pc:cxnChg>
        <pc:cxnChg chg="mod topLvl">
          <ac:chgData name="Frederick King" userId="bb732f183fe92d5e" providerId="LiveId" clId="{E2DCD61D-DC7A-4FDD-B312-815DCBE91D61}" dt="2021-01-13T12:18:16.580" v="3557" actId="1036"/>
          <ac:cxnSpMkLst>
            <pc:docMk/>
            <pc:sldMk cId="1768867071" sldId="279"/>
            <ac:cxnSpMk id="17" creationId="{28A0CB08-88D8-4B6E-AE0F-BC91F6DED8CD}"/>
          </ac:cxnSpMkLst>
        </pc:cxnChg>
        <pc:cxnChg chg="mod topLvl">
          <ac:chgData name="Frederick King" userId="bb732f183fe92d5e" providerId="LiveId" clId="{E2DCD61D-DC7A-4FDD-B312-815DCBE91D61}" dt="2021-01-13T12:18:16.580" v="3557" actId="1036"/>
          <ac:cxnSpMkLst>
            <pc:docMk/>
            <pc:sldMk cId="1768867071" sldId="279"/>
            <ac:cxnSpMk id="18" creationId="{FEC01CF5-D336-474A-AC9D-27A406062D57}"/>
          </ac:cxnSpMkLst>
        </pc:cxnChg>
        <pc:cxnChg chg="mod topLvl">
          <ac:chgData name="Frederick King" userId="bb732f183fe92d5e" providerId="LiveId" clId="{E2DCD61D-DC7A-4FDD-B312-815DCBE91D61}" dt="2021-01-13T12:18:16.580" v="3557" actId="1036"/>
          <ac:cxnSpMkLst>
            <pc:docMk/>
            <pc:sldMk cId="1768867071" sldId="279"/>
            <ac:cxnSpMk id="19" creationId="{AA210E3D-8601-4A15-A168-FFD512173806}"/>
          </ac:cxnSpMkLst>
        </pc:cxnChg>
        <pc:cxnChg chg="del">
          <ac:chgData name="Frederick King" userId="bb732f183fe92d5e" providerId="LiveId" clId="{E2DCD61D-DC7A-4FDD-B312-815DCBE91D61}" dt="2021-01-13T12:10:56.905" v="2985" actId="478"/>
          <ac:cxnSpMkLst>
            <pc:docMk/>
            <pc:sldMk cId="1768867071" sldId="279"/>
            <ac:cxnSpMk id="20" creationId="{785DA103-C204-4CBF-B5A4-82F8333E1F03}"/>
          </ac:cxnSpMkLst>
        </pc:cxnChg>
        <pc:cxnChg chg="del">
          <ac:chgData name="Frederick King" userId="bb732f183fe92d5e" providerId="LiveId" clId="{E2DCD61D-DC7A-4FDD-B312-815DCBE91D61}" dt="2021-01-13T12:10:56.905" v="2985" actId="478"/>
          <ac:cxnSpMkLst>
            <pc:docMk/>
            <pc:sldMk cId="1768867071" sldId="279"/>
            <ac:cxnSpMk id="21" creationId="{98471789-DD7A-4934-A3D4-9378910C20D3}"/>
          </ac:cxnSpMkLst>
        </pc:cxnChg>
        <pc:cxnChg chg="add del mod">
          <ac:chgData name="Frederick King" userId="bb732f183fe92d5e" providerId="LiveId" clId="{E2DCD61D-DC7A-4FDD-B312-815DCBE91D61}" dt="2021-01-13T12:28:01.330" v="4111"/>
          <ac:cxnSpMkLst>
            <pc:docMk/>
            <pc:sldMk cId="1768867071" sldId="279"/>
            <ac:cxnSpMk id="34" creationId="{269053DB-1DE6-4663-B70A-ABBE449F838D}"/>
          </ac:cxnSpMkLst>
        </pc:cxnChg>
        <pc:cxnChg chg="mod topLvl">
          <ac:chgData name="Frederick King" userId="bb732f183fe92d5e" providerId="LiveId" clId="{E2DCD61D-DC7A-4FDD-B312-815DCBE91D61}" dt="2021-01-13T12:13:45.001" v="3143" actId="165"/>
          <ac:cxnSpMkLst>
            <pc:docMk/>
            <pc:sldMk cId="1768867071" sldId="279"/>
            <ac:cxnSpMk id="35" creationId="{FA29661A-2C62-4E12-880B-E4CCE7F20216}"/>
          </ac:cxnSpMkLst>
        </pc:cxnChg>
        <pc:cxnChg chg="mod topLvl">
          <ac:chgData name="Frederick King" userId="bb732f183fe92d5e" providerId="LiveId" clId="{E2DCD61D-DC7A-4FDD-B312-815DCBE91D61}" dt="2021-01-13T12:13:45.001" v="3143" actId="165"/>
          <ac:cxnSpMkLst>
            <pc:docMk/>
            <pc:sldMk cId="1768867071" sldId="279"/>
            <ac:cxnSpMk id="36" creationId="{693D6269-4939-44E7-83B4-5054116F7F76}"/>
          </ac:cxnSpMkLst>
        </pc:cxnChg>
        <pc:cxnChg chg="mod topLvl">
          <ac:chgData name="Frederick King" userId="bb732f183fe92d5e" providerId="LiveId" clId="{E2DCD61D-DC7A-4FDD-B312-815DCBE91D61}" dt="2021-01-13T12:13:45.001" v="3143" actId="165"/>
          <ac:cxnSpMkLst>
            <pc:docMk/>
            <pc:sldMk cId="1768867071" sldId="279"/>
            <ac:cxnSpMk id="38" creationId="{2B06A78E-04C9-42D1-A96E-3B8F63482527}"/>
          </ac:cxnSpMkLst>
        </pc:cxnChg>
        <pc:cxnChg chg="del">
          <ac:chgData name="Frederick King" userId="bb732f183fe92d5e" providerId="LiveId" clId="{E2DCD61D-DC7A-4FDD-B312-815DCBE91D61}" dt="2021-01-13T12:10:56.905" v="2985" actId="478"/>
          <ac:cxnSpMkLst>
            <pc:docMk/>
            <pc:sldMk cId="1768867071" sldId="279"/>
            <ac:cxnSpMk id="40" creationId="{55700AFF-6FCB-4E56-96D3-8FE42829FD01}"/>
          </ac:cxnSpMkLst>
        </pc:cxnChg>
        <pc:cxnChg chg="del">
          <ac:chgData name="Frederick King" userId="bb732f183fe92d5e" providerId="LiveId" clId="{E2DCD61D-DC7A-4FDD-B312-815DCBE91D61}" dt="2021-01-13T12:10:56.905" v="2985" actId="478"/>
          <ac:cxnSpMkLst>
            <pc:docMk/>
            <pc:sldMk cId="1768867071" sldId="279"/>
            <ac:cxnSpMk id="42" creationId="{DDF335E4-E337-43A6-9997-DE015ED2F3CB}"/>
          </ac:cxnSpMkLst>
        </pc:cxnChg>
        <pc:cxnChg chg="add mod">
          <ac:chgData name="Frederick King" userId="bb732f183fe92d5e" providerId="LiveId" clId="{E2DCD61D-DC7A-4FDD-B312-815DCBE91D61}" dt="2021-01-13T12:22:14.312" v="3656" actId="1036"/>
          <ac:cxnSpMkLst>
            <pc:docMk/>
            <pc:sldMk cId="1768867071" sldId="279"/>
            <ac:cxnSpMk id="52" creationId="{9160BDEE-5940-4B94-BE61-5DD1718A7AA3}"/>
          </ac:cxnSpMkLst>
        </pc:cxnChg>
        <pc:cxnChg chg="add mod">
          <ac:chgData name="Frederick King" userId="bb732f183fe92d5e" providerId="LiveId" clId="{E2DCD61D-DC7A-4FDD-B312-815DCBE91D61}" dt="2021-01-13T12:22:14.312" v="3656" actId="1036"/>
          <ac:cxnSpMkLst>
            <pc:docMk/>
            <pc:sldMk cId="1768867071" sldId="279"/>
            <ac:cxnSpMk id="54" creationId="{0546E555-3FC7-45AA-8A9D-1257B6234017}"/>
          </ac:cxnSpMkLst>
        </pc:cxnChg>
        <pc:cxnChg chg="add mod">
          <ac:chgData name="Frederick King" userId="bb732f183fe92d5e" providerId="LiveId" clId="{E2DCD61D-DC7A-4FDD-B312-815DCBE91D61}" dt="2021-01-13T12:22:14.312" v="3656" actId="1036"/>
          <ac:cxnSpMkLst>
            <pc:docMk/>
            <pc:sldMk cId="1768867071" sldId="279"/>
            <ac:cxnSpMk id="56" creationId="{DB3B01D8-BC4B-469A-BC9D-D8D02F1450F0}"/>
          </ac:cxnSpMkLst>
        </pc:cxnChg>
        <pc:cxnChg chg="del">
          <ac:chgData name="Frederick King" userId="bb732f183fe92d5e" providerId="LiveId" clId="{E2DCD61D-DC7A-4FDD-B312-815DCBE91D61}" dt="2021-01-13T12:10:56.905" v="2985" actId="478"/>
          <ac:cxnSpMkLst>
            <pc:docMk/>
            <pc:sldMk cId="1768867071" sldId="279"/>
            <ac:cxnSpMk id="61" creationId="{63D72001-80CE-428D-8ADA-334A04982E61}"/>
          </ac:cxnSpMkLst>
        </pc:cxnChg>
        <pc:cxnChg chg="del">
          <ac:chgData name="Frederick King" userId="bb732f183fe92d5e" providerId="LiveId" clId="{E2DCD61D-DC7A-4FDD-B312-815DCBE91D61}" dt="2021-01-13T12:10:56.905" v="2985" actId="478"/>
          <ac:cxnSpMkLst>
            <pc:docMk/>
            <pc:sldMk cId="1768867071" sldId="279"/>
            <ac:cxnSpMk id="63" creationId="{813F859D-BB88-4A23-984A-84AFA94C2FAF}"/>
          </ac:cxnSpMkLst>
        </pc:cxnChg>
        <pc:cxnChg chg="del">
          <ac:chgData name="Frederick King" userId="bb732f183fe92d5e" providerId="LiveId" clId="{E2DCD61D-DC7A-4FDD-B312-815DCBE91D61}" dt="2021-01-13T12:10:56.905" v="2985" actId="478"/>
          <ac:cxnSpMkLst>
            <pc:docMk/>
            <pc:sldMk cId="1768867071" sldId="279"/>
            <ac:cxnSpMk id="66" creationId="{5FDEFA49-4A07-44DE-8D0C-EB36C0D57718}"/>
          </ac:cxnSpMkLst>
        </pc:cxnChg>
      </pc:sldChg>
      <pc:sldChg chg="addSp delSp modSp new add mod">
        <pc:chgData name="Frederick King" userId="bb732f183fe92d5e" providerId="LiveId" clId="{E2DCD61D-DC7A-4FDD-B312-815DCBE91D61}" dt="2021-01-13T15:06:30.384" v="8289" actId="207"/>
        <pc:sldMkLst>
          <pc:docMk/>
          <pc:sldMk cId="2479679375" sldId="280"/>
        </pc:sldMkLst>
        <pc:spChg chg="mod">
          <ac:chgData name="Frederick King" userId="bb732f183fe92d5e" providerId="LiveId" clId="{E2DCD61D-DC7A-4FDD-B312-815DCBE91D61}" dt="2021-01-13T12:53:52.075" v="4333" actId="948"/>
          <ac:spMkLst>
            <pc:docMk/>
            <pc:sldMk cId="2479679375" sldId="280"/>
            <ac:spMk id="2" creationId="{D6CA93DF-1875-4979-A283-56EBD09394A2}"/>
          </ac:spMkLst>
        </pc:spChg>
        <pc:spChg chg="del">
          <ac:chgData name="Frederick King" userId="bb732f183fe92d5e" providerId="LiveId" clId="{E2DCD61D-DC7A-4FDD-B312-815DCBE91D61}" dt="2021-01-13T12:51:47.713" v="4273" actId="478"/>
          <ac:spMkLst>
            <pc:docMk/>
            <pc:sldMk cId="2479679375" sldId="280"/>
            <ac:spMk id="3" creationId="{7A1DD062-0303-4518-AD0E-0EBE45F17173}"/>
          </ac:spMkLst>
        </pc:spChg>
        <pc:spChg chg="add del mod modVis">
          <ac:chgData name="Frederick King" userId="bb732f183fe92d5e" providerId="LiveId" clId="{E2DCD61D-DC7A-4FDD-B312-815DCBE91D61}" dt="2021-01-13T12:53:52.106" v="4370"/>
          <ac:spMkLst>
            <pc:docMk/>
            <pc:sldMk cId="2479679375" sldId="280"/>
            <ac:spMk id="6" creationId="{4D3D5B6F-3DDE-4AAB-968E-54173E53A4DA}"/>
          </ac:spMkLst>
        </pc:spChg>
        <pc:spChg chg="add mod">
          <ac:chgData name="Frederick King" userId="bb732f183fe92d5e" providerId="LiveId" clId="{E2DCD61D-DC7A-4FDD-B312-815DCBE91D61}" dt="2021-01-13T13:14:13.348" v="5123"/>
          <ac:spMkLst>
            <pc:docMk/>
            <pc:sldMk cId="2479679375" sldId="280"/>
            <ac:spMk id="7" creationId="{DAA38E53-F4C3-4C0B-A768-0DBC6D44E414}"/>
          </ac:spMkLst>
        </pc:spChg>
        <pc:graphicFrameChg chg="add mod modGraphic">
          <ac:chgData name="Frederick King" userId="bb732f183fe92d5e" providerId="LiveId" clId="{E2DCD61D-DC7A-4FDD-B312-815DCBE91D61}" dt="2021-01-13T15:06:30.384" v="8289" actId="207"/>
          <ac:graphicFrameMkLst>
            <pc:docMk/>
            <pc:sldMk cId="2479679375" sldId="280"/>
            <ac:graphicFrameMk id="4" creationId="{A255111F-496F-4798-A548-F91A1EEA191C}"/>
          </ac:graphicFrameMkLst>
        </pc:graphicFrameChg>
        <pc:graphicFrameChg chg="add mod ord modVis">
          <ac:chgData name="Frederick King" userId="bb732f183fe92d5e" providerId="LiveId" clId="{E2DCD61D-DC7A-4FDD-B312-815DCBE91D61}" dt="2021-01-13T12:53:52.106" v="4372"/>
          <ac:graphicFrameMkLst>
            <pc:docMk/>
            <pc:sldMk cId="2479679375" sldId="280"/>
            <ac:graphicFrameMk id="5" creationId="{98F9D998-4B8A-431F-9357-F3D5AEA5DC28}"/>
          </ac:graphicFrameMkLst>
        </pc:graphicFrameChg>
      </pc:sldChg>
      <pc:sldChg chg="addSp delSp modSp new add mod">
        <pc:chgData name="Frederick King" userId="bb732f183fe92d5e" providerId="LiveId" clId="{E2DCD61D-DC7A-4FDD-B312-815DCBE91D61}" dt="2021-01-13T13:14:14.399" v="5124"/>
        <pc:sldMkLst>
          <pc:docMk/>
          <pc:sldMk cId="371294846" sldId="281"/>
        </pc:sldMkLst>
        <pc:spChg chg="mod">
          <ac:chgData name="Frederick King" userId="bb732f183fe92d5e" providerId="LiveId" clId="{E2DCD61D-DC7A-4FDD-B312-815DCBE91D61}" dt="2021-01-13T13:10:27.471" v="4882" actId="553"/>
          <ac:spMkLst>
            <pc:docMk/>
            <pc:sldMk cId="371294846" sldId="281"/>
            <ac:spMk id="2" creationId="{2C72BAFB-38D4-4258-BA15-1CFBBCCB4463}"/>
          </ac:spMkLst>
        </pc:spChg>
        <pc:spChg chg="del">
          <ac:chgData name="Frederick King" userId="bb732f183fe92d5e" providerId="LiveId" clId="{E2DCD61D-DC7A-4FDD-B312-815DCBE91D61}" dt="2021-01-13T13:09:16.621" v="4503" actId="478"/>
          <ac:spMkLst>
            <pc:docMk/>
            <pc:sldMk cId="371294846" sldId="281"/>
            <ac:spMk id="3" creationId="{104C1CB5-006E-4DED-9556-5A1ABB2ECC92}"/>
          </ac:spMkLst>
        </pc:spChg>
        <pc:spChg chg="mod topLvl">
          <ac:chgData name="Frederick King" userId="bb732f183fe92d5e" providerId="LiveId" clId="{E2DCD61D-DC7A-4FDD-B312-815DCBE91D61}" dt="2021-01-13T13:11:08.809" v="4902" actId="208"/>
          <ac:spMkLst>
            <pc:docMk/>
            <pc:sldMk cId="371294846" sldId="281"/>
            <ac:spMk id="5" creationId="{B31C416B-DB54-499B-9CD0-2251F000CCEB}"/>
          </ac:spMkLst>
        </pc:spChg>
        <pc:spChg chg="mod topLvl">
          <ac:chgData name="Frederick King" userId="bb732f183fe92d5e" providerId="LiveId" clId="{E2DCD61D-DC7A-4FDD-B312-815DCBE91D61}" dt="2021-01-13T13:12:06.383" v="4927" actId="403"/>
          <ac:spMkLst>
            <pc:docMk/>
            <pc:sldMk cId="371294846" sldId="281"/>
            <ac:spMk id="6" creationId="{C6603FAD-9C84-46A6-B9DB-52EF18C21C65}"/>
          </ac:spMkLst>
        </pc:spChg>
        <pc:spChg chg="mod topLvl">
          <ac:chgData name="Frederick King" userId="bb732f183fe92d5e" providerId="LiveId" clId="{E2DCD61D-DC7A-4FDD-B312-815DCBE91D61}" dt="2021-01-13T13:11:08.809" v="4902" actId="208"/>
          <ac:spMkLst>
            <pc:docMk/>
            <pc:sldMk cId="371294846" sldId="281"/>
            <ac:spMk id="8" creationId="{A5B5FE28-691C-42F9-AC24-7A6546E33E89}"/>
          </ac:spMkLst>
        </pc:spChg>
        <pc:spChg chg="mod topLvl">
          <ac:chgData name="Frederick King" userId="bb732f183fe92d5e" providerId="LiveId" clId="{E2DCD61D-DC7A-4FDD-B312-815DCBE91D61}" dt="2021-01-13T13:14:04.136" v="5122" actId="20577"/>
          <ac:spMkLst>
            <pc:docMk/>
            <pc:sldMk cId="371294846" sldId="281"/>
            <ac:spMk id="9" creationId="{4BFBE253-46C2-4A5A-B92B-D6E79BFB03EC}"/>
          </ac:spMkLst>
        </pc:spChg>
        <pc:spChg chg="add del mod modVis">
          <ac:chgData name="Frederick King" userId="bb732f183fe92d5e" providerId="LiveId" clId="{E2DCD61D-DC7A-4FDD-B312-815DCBE91D61}" dt="2021-01-13T13:09:43.454" v="4544"/>
          <ac:spMkLst>
            <pc:docMk/>
            <pc:sldMk cId="371294846" sldId="281"/>
            <ac:spMk id="10" creationId="{B99720CB-414E-4A4A-9C4A-776E82F3FED4}"/>
          </ac:spMkLst>
        </pc:spChg>
        <pc:spChg chg="add del mod modVis">
          <ac:chgData name="Frederick King" userId="bb732f183fe92d5e" providerId="LiveId" clId="{E2DCD61D-DC7A-4FDD-B312-815DCBE91D61}" dt="2021-01-13T13:09:45.592" v="4599"/>
          <ac:spMkLst>
            <pc:docMk/>
            <pc:sldMk cId="371294846" sldId="281"/>
            <ac:spMk id="12" creationId="{195D5D16-94CC-42A3-A014-8BE931063AAE}"/>
          </ac:spMkLst>
        </pc:spChg>
        <pc:spChg chg="add del mod modVis">
          <ac:chgData name="Frederick King" userId="bb732f183fe92d5e" providerId="LiveId" clId="{E2DCD61D-DC7A-4FDD-B312-815DCBE91D61}" dt="2021-01-13T13:09:47.524" v="4640"/>
          <ac:spMkLst>
            <pc:docMk/>
            <pc:sldMk cId="371294846" sldId="281"/>
            <ac:spMk id="13" creationId="{C6790D40-9EE1-4BEB-AD97-CE0EEEF30DD4}"/>
          </ac:spMkLst>
        </pc:spChg>
        <pc:spChg chg="add del mod modVis">
          <ac:chgData name="Frederick King" userId="bb732f183fe92d5e" providerId="LiveId" clId="{E2DCD61D-DC7A-4FDD-B312-815DCBE91D61}" dt="2021-01-13T13:09:57.797" v="4695"/>
          <ac:spMkLst>
            <pc:docMk/>
            <pc:sldMk cId="371294846" sldId="281"/>
            <ac:spMk id="14" creationId="{6DC037F3-B0FE-4DF9-9E8A-5B4A7D780052}"/>
          </ac:spMkLst>
        </pc:spChg>
        <pc:spChg chg="add del mod modVis">
          <ac:chgData name="Frederick King" userId="bb732f183fe92d5e" providerId="LiveId" clId="{E2DCD61D-DC7A-4FDD-B312-815DCBE91D61}" dt="2021-01-13T13:09:59.049" v="4739"/>
          <ac:spMkLst>
            <pc:docMk/>
            <pc:sldMk cId="371294846" sldId="281"/>
            <ac:spMk id="15" creationId="{AFE3B00F-BF1B-451B-B4FC-B4BBABE7F9A2}"/>
          </ac:spMkLst>
        </pc:spChg>
        <pc:spChg chg="add del mod modVis">
          <ac:chgData name="Frederick King" userId="bb732f183fe92d5e" providerId="LiveId" clId="{E2DCD61D-DC7A-4FDD-B312-815DCBE91D61}" dt="2021-01-13T13:10:00.655" v="4784"/>
          <ac:spMkLst>
            <pc:docMk/>
            <pc:sldMk cId="371294846" sldId="281"/>
            <ac:spMk id="16" creationId="{D2CC2CD9-22C4-4238-B9CC-8146812E5568}"/>
          </ac:spMkLst>
        </pc:spChg>
        <pc:spChg chg="add del mod modVis">
          <ac:chgData name="Frederick King" userId="bb732f183fe92d5e" providerId="LiveId" clId="{E2DCD61D-DC7A-4FDD-B312-815DCBE91D61}" dt="2021-01-13T13:10:01.661" v="4828"/>
          <ac:spMkLst>
            <pc:docMk/>
            <pc:sldMk cId="371294846" sldId="281"/>
            <ac:spMk id="17" creationId="{41878376-6768-48FB-A12C-F96090466950}"/>
          </ac:spMkLst>
        </pc:spChg>
        <pc:spChg chg="add del mod modVis">
          <ac:chgData name="Frederick King" userId="bb732f183fe92d5e" providerId="LiveId" clId="{E2DCD61D-DC7A-4FDD-B312-815DCBE91D61}" dt="2021-01-13T13:10:03.647" v="4878"/>
          <ac:spMkLst>
            <pc:docMk/>
            <pc:sldMk cId="371294846" sldId="281"/>
            <ac:spMk id="18" creationId="{50BE1453-30E4-4C91-B0F9-9293E05380B7}"/>
          </ac:spMkLst>
        </pc:spChg>
        <pc:spChg chg="add mod">
          <ac:chgData name="Frederick King" userId="bb732f183fe92d5e" providerId="LiveId" clId="{E2DCD61D-DC7A-4FDD-B312-815DCBE91D61}" dt="2021-01-13T13:14:14.399" v="5124"/>
          <ac:spMkLst>
            <pc:docMk/>
            <pc:sldMk cId="371294846" sldId="281"/>
            <ac:spMk id="19" creationId="{8D888209-7751-44A7-B3BA-BA6313283FF3}"/>
          </ac:spMkLst>
        </pc:spChg>
        <pc:grpChg chg="add del mod">
          <ac:chgData name="Frederick King" userId="bb732f183fe92d5e" providerId="LiveId" clId="{E2DCD61D-DC7A-4FDD-B312-815DCBE91D61}" dt="2021-01-13T13:10:35.608" v="4883" actId="165"/>
          <ac:grpSpMkLst>
            <pc:docMk/>
            <pc:sldMk cId="371294846" sldId="281"/>
            <ac:grpSpMk id="4" creationId="{36BDD1D5-E599-45DD-A2B7-C121A3C6D7D2}"/>
          </ac:grpSpMkLst>
        </pc:grpChg>
        <pc:grpChg chg="add del mod">
          <ac:chgData name="Frederick King" userId="bb732f183fe92d5e" providerId="LiveId" clId="{E2DCD61D-DC7A-4FDD-B312-815DCBE91D61}" dt="2021-01-13T13:10:35.608" v="4883" actId="165"/>
          <ac:grpSpMkLst>
            <pc:docMk/>
            <pc:sldMk cId="371294846" sldId="281"/>
            <ac:grpSpMk id="7" creationId="{DC5A8D4A-5E1A-4164-A293-AF62B561D20A}"/>
          </ac:grpSpMkLst>
        </pc:grpChg>
        <pc:graphicFrameChg chg="add mod ord modVis">
          <ac:chgData name="Frederick King" userId="bb732f183fe92d5e" providerId="LiveId" clId="{E2DCD61D-DC7A-4FDD-B312-815DCBE91D61}" dt="2021-01-13T13:10:03.647" v="4880"/>
          <ac:graphicFrameMkLst>
            <pc:docMk/>
            <pc:sldMk cId="371294846" sldId="281"/>
            <ac:graphicFrameMk id="11" creationId="{EFB91133-0E2F-48F6-A178-B17E2BEC5EAB}"/>
          </ac:graphicFrameMkLst>
        </pc:graphicFrameChg>
      </pc:sldChg>
      <pc:sldChg chg="addSp delSp modSp add mod">
        <pc:chgData name="Frederick King" userId="bb732f183fe92d5e" providerId="LiveId" clId="{E2DCD61D-DC7A-4FDD-B312-815DCBE91D61}" dt="2021-01-13T13:42:26.431" v="7945" actId="20577"/>
        <pc:sldMkLst>
          <pc:docMk/>
          <pc:sldMk cId="3311661654" sldId="282"/>
        </pc:sldMkLst>
        <pc:spChg chg="mod ord">
          <ac:chgData name="Frederick King" userId="bb732f183fe92d5e" providerId="LiveId" clId="{E2DCD61D-DC7A-4FDD-B312-815DCBE91D61}" dt="2021-01-13T13:41:45.069" v="7839" actId="948"/>
          <ac:spMkLst>
            <pc:docMk/>
            <pc:sldMk cId="3311661654" sldId="282"/>
            <ac:spMk id="2" creationId="{2C72BAFB-38D4-4258-BA15-1CFBBCCB4463}"/>
          </ac:spMkLst>
        </pc:spChg>
        <pc:spChg chg="add del mod modVis">
          <ac:chgData name="Frederick King" userId="bb732f183fe92d5e" providerId="LiveId" clId="{E2DCD61D-DC7A-4FDD-B312-815DCBE91D61}" dt="2021-01-13T13:32:32.684" v="6139"/>
          <ac:spMkLst>
            <pc:docMk/>
            <pc:sldMk cId="3311661654" sldId="282"/>
            <ac:spMk id="3" creationId="{25D51B52-ADC7-4052-8855-383DE6E0DE06}"/>
          </ac:spMkLst>
        </pc:spChg>
        <pc:spChg chg="del">
          <ac:chgData name="Frederick King" userId="bb732f183fe92d5e" providerId="LiveId" clId="{E2DCD61D-DC7A-4FDD-B312-815DCBE91D61}" dt="2021-01-13T13:25:38.272" v="5145" actId="478"/>
          <ac:spMkLst>
            <pc:docMk/>
            <pc:sldMk cId="3311661654" sldId="282"/>
            <ac:spMk id="5" creationId="{B31C416B-DB54-499B-9CD0-2251F000CCEB}"/>
          </ac:spMkLst>
        </pc:spChg>
        <pc:spChg chg="del">
          <ac:chgData name="Frederick King" userId="bb732f183fe92d5e" providerId="LiveId" clId="{E2DCD61D-DC7A-4FDD-B312-815DCBE91D61}" dt="2021-01-13T13:25:38.272" v="5145" actId="478"/>
          <ac:spMkLst>
            <pc:docMk/>
            <pc:sldMk cId="3311661654" sldId="282"/>
            <ac:spMk id="6" creationId="{C6603FAD-9C84-46A6-B9DB-52EF18C21C65}"/>
          </ac:spMkLst>
        </pc:spChg>
        <pc:spChg chg="add mod ord">
          <ac:chgData name="Frederick King" userId="bb732f183fe92d5e" providerId="LiveId" clId="{E2DCD61D-DC7A-4FDD-B312-815DCBE91D61}" dt="2021-01-13T13:42:26.431" v="7945" actId="20577"/>
          <ac:spMkLst>
            <pc:docMk/>
            <pc:sldMk cId="3311661654" sldId="282"/>
            <ac:spMk id="7" creationId="{D99BE1AE-67DC-4F88-B15A-443CBAF5C790}"/>
          </ac:spMkLst>
        </pc:spChg>
        <pc:spChg chg="del">
          <ac:chgData name="Frederick King" userId="bb732f183fe92d5e" providerId="LiveId" clId="{E2DCD61D-DC7A-4FDD-B312-815DCBE91D61}" dt="2021-01-13T13:25:38.272" v="5145" actId="478"/>
          <ac:spMkLst>
            <pc:docMk/>
            <pc:sldMk cId="3311661654" sldId="282"/>
            <ac:spMk id="8" creationId="{A5B5FE28-691C-42F9-AC24-7A6546E33E89}"/>
          </ac:spMkLst>
        </pc:spChg>
        <pc:spChg chg="del">
          <ac:chgData name="Frederick King" userId="bb732f183fe92d5e" providerId="LiveId" clId="{E2DCD61D-DC7A-4FDD-B312-815DCBE91D61}" dt="2021-01-13T13:25:38.272" v="5145" actId="478"/>
          <ac:spMkLst>
            <pc:docMk/>
            <pc:sldMk cId="3311661654" sldId="282"/>
            <ac:spMk id="9" creationId="{4BFBE253-46C2-4A5A-B92B-D6E79BFB03EC}"/>
          </ac:spMkLst>
        </pc:spChg>
        <pc:spChg chg="add mod">
          <ac:chgData name="Frederick King" userId="bb732f183fe92d5e" providerId="LiveId" clId="{E2DCD61D-DC7A-4FDD-B312-815DCBE91D61}" dt="2021-01-13T13:40:19.931" v="7031"/>
          <ac:spMkLst>
            <pc:docMk/>
            <pc:sldMk cId="3311661654" sldId="282"/>
            <ac:spMk id="10" creationId="{B2B12467-E2CF-4618-8B9B-3D3C89097693}"/>
          </ac:spMkLst>
        </pc:spChg>
        <pc:spChg chg="add mod">
          <ac:chgData name="Frederick King" userId="bb732f183fe92d5e" providerId="LiveId" clId="{E2DCD61D-DC7A-4FDD-B312-815DCBE91D61}" dt="2021-01-13T13:40:19.936" v="7039"/>
          <ac:spMkLst>
            <pc:docMk/>
            <pc:sldMk cId="3311661654" sldId="282"/>
            <ac:spMk id="12" creationId="{6BC6B75F-5167-4CCC-B67C-10A67E78901E}"/>
          </ac:spMkLst>
        </pc:spChg>
        <pc:spChg chg="add mod">
          <ac:chgData name="Frederick King" userId="bb732f183fe92d5e" providerId="LiveId" clId="{E2DCD61D-DC7A-4FDD-B312-815DCBE91D61}" dt="2021-01-13T13:40:19.930" v="7030"/>
          <ac:spMkLst>
            <pc:docMk/>
            <pc:sldMk cId="3311661654" sldId="282"/>
            <ac:spMk id="13" creationId="{EB5B9E14-C06D-4CE2-969A-11EA2AA61AFF}"/>
          </ac:spMkLst>
        </pc:spChg>
        <pc:spChg chg="add mod">
          <ac:chgData name="Frederick King" userId="bb732f183fe92d5e" providerId="LiveId" clId="{E2DCD61D-DC7A-4FDD-B312-815DCBE91D61}" dt="2021-01-13T13:40:19.932" v="7033"/>
          <ac:spMkLst>
            <pc:docMk/>
            <pc:sldMk cId="3311661654" sldId="282"/>
            <ac:spMk id="14" creationId="{C48851EE-CB2A-4D13-8A6C-9458FCF3BB97}"/>
          </ac:spMkLst>
        </pc:spChg>
        <pc:spChg chg="add mod">
          <ac:chgData name="Frederick King" userId="bb732f183fe92d5e" providerId="LiveId" clId="{E2DCD61D-DC7A-4FDD-B312-815DCBE91D61}" dt="2021-01-13T13:40:19.934" v="7037"/>
          <ac:spMkLst>
            <pc:docMk/>
            <pc:sldMk cId="3311661654" sldId="282"/>
            <ac:spMk id="15" creationId="{D96D663F-B1ED-477E-8D6D-B626FC1E1FFB}"/>
          </ac:spMkLst>
        </pc:spChg>
        <pc:spChg chg="add mod">
          <ac:chgData name="Frederick King" userId="bb732f183fe92d5e" providerId="LiveId" clId="{E2DCD61D-DC7A-4FDD-B312-815DCBE91D61}" dt="2021-01-13T13:40:19.933" v="7035"/>
          <ac:spMkLst>
            <pc:docMk/>
            <pc:sldMk cId="3311661654" sldId="282"/>
            <ac:spMk id="16" creationId="{246AECA5-5AA3-4F93-8285-CFF3EBD5518D}"/>
          </ac:spMkLst>
        </pc:spChg>
        <pc:spChg chg="add mod">
          <ac:chgData name="Frederick King" userId="bb732f183fe92d5e" providerId="LiveId" clId="{E2DCD61D-DC7A-4FDD-B312-815DCBE91D61}" dt="2021-01-13T13:40:19.933" v="7034"/>
          <ac:spMkLst>
            <pc:docMk/>
            <pc:sldMk cId="3311661654" sldId="282"/>
            <ac:spMk id="17" creationId="{53E48679-E310-4671-8B50-924D97A9F850}"/>
          </ac:spMkLst>
        </pc:spChg>
        <pc:spChg chg="add mod ord">
          <ac:chgData name="Frederick King" userId="bb732f183fe92d5e" providerId="LiveId" clId="{E2DCD61D-DC7A-4FDD-B312-815DCBE91D61}" dt="2021-01-13T13:40:19.936" v="7041"/>
          <ac:spMkLst>
            <pc:docMk/>
            <pc:sldMk cId="3311661654" sldId="282"/>
            <ac:spMk id="18" creationId="{BF08E376-DB4A-4448-8BE3-098EC9D62149}"/>
          </ac:spMkLst>
        </pc:spChg>
        <pc:spChg chg="mod ord">
          <ac:chgData name="Frederick King" userId="bb732f183fe92d5e" providerId="LiveId" clId="{E2DCD61D-DC7A-4FDD-B312-815DCBE91D61}" dt="2021-01-13T13:40:19.929" v="7029"/>
          <ac:spMkLst>
            <pc:docMk/>
            <pc:sldMk cId="3311661654" sldId="282"/>
            <ac:spMk id="19" creationId="{8D888209-7751-44A7-B3BA-BA6313283FF3}"/>
          </ac:spMkLst>
        </pc:spChg>
        <pc:spChg chg="add mod">
          <ac:chgData name="Frederick King" userId="bb732f183fe92d5e" providerId="LiveId" clId="{E2DCD61D-DC7A-4FDD-B312-815DCBE91D61}" dt="2021-01-13T13:40:19.937" v="7042"/>
          <ac:spMkLst>
            <pc:docMk/>
            <pc:sldMk cId="3311661654" sldId="282"/>
            <ac:spMk id="20" creationId="{92FE94BD-331E-46C9-8447-9957C39AA768}"/>
          </ac:spMkLst>
        </pc:spChg>
        <pc:spChg chg="add mod">
          <ac:chgData name="Frederick King" userId="bb732f183fe92d5e" providerId="LiveId" clId="{E2DCD61D-DC7A-4FDD-B312-815DCBE91D61}" dt="2021-01-13T13:40:19.938" v="7044"/>
          <ac:spMkLst>
            <pc:docMk/>
            <pc:sldMk cId="3311661654" sldId="282"/>
            <ac:spMk id="21" creationId="{85B7EB05-D135-46AA-BD22-9398CECD5F8C}"/>
          </ac:spMkLst>
        </pc:spChg>
        <pc:spChg chg="add mod">
          <ac:chgData name="Frederick King" userId="bb732f183fe92d5e" providerId="LiveId" clId="{E2DCD61D-DC7A-4FDD-B312-815DCBE91D61}" dt="2021-01-13T13:40:19.934" v="7036"/>
          <ac:spMkLst>
            <pc:docMk/>
            <pc:sldMk cId="3311661654" sldId="282"/>
            <ac:spMk id="22" creationId="{DF3F0177-EC75-44E9-9D4F-0AE18C5EFE56}"/>
          </ac:spMkLst>
        </pc:spChg>
        <pc:spChg chg="add mod">
          <ac:chgData name="Frederick King" userId="bb732f183fe92d5e" providerId="LiveId" clId="{E2DCD61D-DC7A-4FDD-B312-815DCBE91D61}" dt="2021-01-13T13:40:19.935" v="7038"/>
          <ac:spMkLst>
            <pc:docMk/>
            <pc:sldMk cId="3311661654" sldId="282"/>
            <ac:spMk id="23" creationId="{7B58283D-D9EE-4AD1-835F-384EB2BE05C4}"/>
          </ac:spMkLst>
        </pc:spChg>
        <pc:spChg chg="add mod">
          <ac:chgData name="Frederick King" userId="bb732f183fe92d5e" providerId="LiveId" clId="{E2DCD61D-DC7A-4FDD-B312-815DCBE91D61}" dt="2021-01-13T13:40:19.937" v="7043"/>
          <ac:spMkLst>
            <pc:docMk/>
            <pc:sldMk cId="3311661654" sldId="282"/>
            <ac:spMk id="24" creationId="{8778D45C-531B-4143-AA09-1E71A06BFBC3}"/>
          </ac:spMkLst>
        </pc:spChg>
        <pc:spChg chg="add mod">
          <ac:chgData name="Frederick King" userId="bb732f183fe92d5e" providerId="LiveId" clId="{E2DCD61D-DC7A-4FDD-B312-815DCBE91D61}" dt="2021-01-13T13:40:19.931" v="7032"/>
          <ac:spMkLst>
            <pc:docMk/>
            <pc:sldMk cId="3311661654" sldId="282"/>
            <ac:spMk id="25" creationId="{6D818E80-2D61-4BB3-B798-26E07B07EE65}"/>
          </ac:spMkLst>
        </pc:spChg>
        <pc:spChg chg="add mod ord">
          <ac:chgData name="Frederick King" userId="bb732f183fe92d5e" providerId="LiveId" clId="{E2DCD61D-DC7A-4FDD-B312-815DCBE91D61}" dt="2021-01-13T13:40:27.898" v="7337" actId="948"/>
          <ac:spMkLst>
            <pc:docMk/>
            <pc:sldMk cId="3311661654" sldId="282"/>
            <ac:spMk id="26" creationId="{F66B6A82-13C7-4433-8C96-1E272825063E}"/>
          </ac:spMkLst>
        </pc:spChg>
        <pc:spChg chg="add mod">
          <ac:chgData name="Frederick King" userId="bb732f183fe92d5e" providerId="LiveId" clId="{E2DCD61D-DC7A-4FDD-B312-815DCBE91D61}" dt="2021-01-13T13:40:27.899" v="7338"/>
          <ac:spMkLst>
            <pc:docMk/>
            <pc:sldMk cId="3311661654" sldId="282"/>
            <ac:spMk id="27" creationId="{8A6443E5-7B6C-4F4C-B82B-CCFA603F35E0}"/>
          </ac:spMkLst>
        </pc:spChg>
        <pc:spChg chg="add mod">
          <ac:chgData name="Frederick King" userId="bb732f183fe92d5e" providerId="LiveId" clId="{E2DCD61D-DC7A-4FDD-B312-815DCBE91D61}" dt="2021-01-13T13:40:27.901" v="7339"/>
          <ac:spMkLst>
            <pc:docMk/>
            <pc:sldMk cId="3311661654" sldId="282"/>
            <ac:spMk id="28" creationId="{19D13DD6-5208-4D36-A1F9-DC455FE597D4}"/>
          </ac:spMkLst>
        </pc:spChg>
        <pc:spChg chg="add mod">
          <ac:chgData name="Frederick King" userId="bb732f183fe92d5e" providerId="LiveId" clId="{E2DCD61D-DC7A-4FDD-B312-815DCBE91D61}" dt="2021-01-13T13:40:27.902" v="7340"/>
          <ac:spMkLst>
            <pc:docMk/>
            <pc:sldMk cId="3311661654" sldId="282"/>
            <ac:spMk id="29" creationId="{529E3197-C110-4B1A-AC9D-F7D9CD13AFF5}"/>
          </ac:spMkLst>
        </pc:spChg>
        <pc:spChg chg="add mod">
          <ac:chgData name="Frederick King" userId="bb732f183fe92d5e" providerId="LiveId" clId="{E2DCD61D-DC7A-4FDD-B312-815DCBE91D61}" dt="2021-01-13T13:40:27.902" v="7341"/>
          <ac:spMkLst>
            <pc:docMk/>
            <pc:sldMk cId="3311661654" sldId="282"/>
            <ac:spMk id="30" creationId="{5B30A230-CC19-40A7-9908-BACEA4D998B5}"/>
          </ac:spMkLst>
        </pc:spChg>
        <pc:spChg chg="add mod">
          <ac:chgData name="Frederick King" userId="bb732f183fe92d5e" providerId="LiveId" clId="{E2DCD61D-DC7A-4FDD-B312-815DCBE91D61}" dt="2021-01-13T13:40:27.903" v="7342"/>
          <ac:spMkLst>
            <pc:docMk/>
            <pc:sldMk cId="3311661654" sldId="282"/>
            <ac:spMk id="31" creationId="{9D5AF1A0-3B87-4444-8E91-1F175ED7A4AC}"/>
          </ac:spMkLst>
        </pc:spChg>
        <pc:spChg chg="add mod">
          <ac:chgData name="Frederick King" userId="bb732f183fe92d5e" providerId="LiveId" clId="{E2DCD61D-DC7A-4FDD-B312-815DCBE91D61}" dt="2021-01-13T13:40:27.905" v="7343"/>
          <ac:spMkLst>
            <pc:docMk/>
            <pc:sldMk cId="3311661654" sldId="282"/>
            <ac:spMk id="32" creationId="{728E8D2A-65A7-4083-BA80-2DA088E8C9E7}"/>
          </ac:spMkLst>
        </pc:spChg>
        <pc:spChg chg="add mod">
          <ac:chgData name="Frederick King" userId="bb732f183fe92d5e" providerId="LiveId" clId="{E2DCD61D-DC7A-4FDD-B312-815DCBE91D61}" dt="2021-01-13T13:40:27.906" v="7344"/>
          <ac:spMkLst>
            <pc:docMk/>
            <pc:sldMk cId="3311661654" sldId="282"/>
            <ac:spMk id="33" creationId="{8E571E7E-7447-4687-9252-E6C647C94920}"/>
          </ac:spMkLst>
        </pc:spChg>
        <pc:spChg chg="add mod">
          <ac:chgData name="Frederick King" userId="bb732f183fe92d5e" providerId="LiveId" clId="{E2DCD61D-DC7A-4FDD-B312-815DCBE91D61}" dt="2021-01-13T13:40:27.907" v="7345"/>
          <ac:spMkLst>
            <pc:docMk/>
            <pc:sldMk cId="3311661654" sldId="282"/>
            <ac:spMk id="34" creationId="{AD0DEA86-55B1-47BD-AC5A-FD11AEEA0801}"/>
          </ac:spMkLst>
        </pc:spChg>
        <pc:spChg chg="add mod">
          <ac:chgData name="Frederick King" userId="bb732f183fe92d5e" providerId="LiveId" clId="{E2DCD61D-DC7A-4FDD-B312-815DCBE91D61}" dt="2021-01-13T13:40:27.908" v="7346"/>
          <ac:spMkLst>
            <pc:docMk/>
            <pc:sldMk cId="3311661654" sldId="282"/>
            <ac:spMk id="35" creationId="{87AFBEE4-10E8-4E5A-9027-5BD186049D7E}"/>
          </ac:spMkLst>
        </pc:spChg>
        <pc:spChg chg="add mod">
          <ac:chgData name="Frederick King" userId="bb732f183fe92d5e" providerId="LiveId" clId="{E2DCD61D-DC7A-4FDD-B312-815DCBE91D61}" dt="2021-01-13T13:40:27.909" v="7347"/>
          <ac:spMkLst>
            <pc:docMk/>
            <pc:sldMk cId="3311661654" sldId="282"/>
            <ac:spMk id="36" creationId="{98FA63C7-F76D-4531-BA52-FE8BC64E759B}"/>
          </ac:spMkLst>
        </pc:spChg>
        <pc:spChg chg="add mod">
          <ac:chgData name="Frederick King" userId="bb732f183fe92d5e" providerId="LiveId" clId="{E2DCD61D-DC7A-4FDD-B312-815DCBE91D61}" dt="2021-01-13T13:40:27.910" v="7348"/>
          <ac:spMkLst>
            <pc:docMk/>
            <pc:sldMk cId="3311661654" sldId="282"/>
            <ac:spMk id="37" creationId="{41A9CA9B-1580-4026-8F36-266D66822820}"/>
          </ac:spMkLst>
        </pc:spChg>
        <pc:spChg chg="add mod">
          <ac:chgData name="Frederick King" userId="bb732f183fe92d5e" providerId="LiveId" clId="{E2DCD61D-DC7A-4FDD-B312-815DCBE91D61}" dt="2021-01-13T13:40:27.911" v="7349"/>
          <ac:spMkLst>
            <pc:docMk/>
            <pc:sldMk cId="3311661654" sldId="282"/>
            <ac:spMk id="38" creationId="{6AE9A8CF-2DE6-4EF6-BF02-33DABD75CF27}"/>
          </ac:spMkLst>
        </pc:spChg>
        <pc:spChg chg="add mod ord">
          <ac:chgData name="Frederick King" userId="bb732f183fe92d5e" providerId="LiveId" clId="{E2DCD61D-DC7A-4FDD-B312-815DCBE91D61}" dt="2021-01-13T13:40:19.962" v="7096"/>
          <ac:spMkLst>
            <pc:docMk/>
            <pc:sldMk cId="3311661654" sldId="282"/>
            <ac:spMk id="57" creationId="{CD5495C3-6362-43C4-BC61-11762CCEA2D0}"/>
          </ac:spMkLst>
        </pc:spChg>
        <pc:spChg chg="add mod ord">
          <ac:chgData name="Frederick King" userId="bb732f183fe92d5e" providerId="LiveId" clId="{E2DCD61D-DC7A-4FDD-B312-815DCBE91D61}" dt="2021-01-13T13:40:19.964" v="7102"/>
          <ac:spMkLst>
            <pc:docMk/>
            <pc:sldMk cId="3311661654" sldId="282"/>
            <ac:spMk id="58" creationId="{9A5AB7AE-02CC-4061-9443-F8D815F4748B}"/>
          </ac:spMkLst>
        </pc:spChg>
        <pc:spChg chg="add mod ord">
          <ac:chgData name="Frederick King" userId="bb732f183fe92d5e" providerId="LiveId" clId="{E2DCD61D-DC7A-4FDD-B312-815DCBE91D61}" dt="2021-01-13T13:40:19.965" v="7104"/>
          <ac:spMkLst>
            <pc:docMk/>
            <pc:sldMk cId="3311661654" sldId="282"/>
            <ac:spMk id="59" creationId="{42E66FDB-D72F-45C5-97BD-032037E05195}"/>
          </ac:spMkLst>
        </pc:spChg>
        <pc:spChg chg="add mod ord">
          <ac:chgData name="Frederick King" userId="bb732f183fe92d5e" providerId="LiveId" clId="{E2DCD61D-DC7A-4FDD-B312-815DCBE91D61}" dt="2021-01-13T13:40:19.963" v="7098"/>
          <ac:spMkLst>
            <pc:docMk/>
            <pc:sldMk cId="3311661654" sldId="282"/>
            <ac:spMk id="60" creationId="{A82D05BB-4F38-4A03-81A8-A49217982C94}"/>
          </ac:spMkLst>
        </pc:spChg>
        <pc:spChg chg="add mod ord">
          <ac:chgData name="Frederick King" userId="bb732f183fe92d5e" providerId="LiveId" clId="{E2DCD61D-DC7A-4FDD-B312-815DCBE91D61}" dt="2021-01-13T13:40:19.964" v="7100"/>
          <ac:spMkLst>
            <pc:docMk/>
            <pc:sldMk cId="3311661654" sldId="282"/>
            <ac:spMk id="61" creationId="{6FADD1A6-6BEB-4904-A745-9B38AD7EE06E}"/>
          </ac:spMkLst>
        </pc:spChg>
        <pc:spChg chg="add mod ord">
          <ac:chgData name="Frederick King" userId="bb732f183fe92d5e" providerId="LiveId" clId="{E2DCD61D-DC7A-4FDD-B312-815DCBE91D61}" dt="2021-01-13T13:40:19.969" v="7112"/>
          <ac:spMkLst>
            <pc:docMk/>
            <pc:sldMk cId="3311661654" sldId="282"/>
            <ac:spMk id="62" creationId="{37A8B11E-5F1B-42A3-8507-162F43F39B36}"/>
          </ac:spMkLst>
        </pc:spChg>
        <pc:spChg chg="add mod ord">
          <ac:chgData name="Frederick King" userId="bb732f183fe92d5e" providerId="LiveId" clId="{E2DCD61D-DC7A-4FDD-B312-815DCBE91D61}" dt="2021-01-13T13:40:19.967" v="7108"/>
          <ac:spMkLst>
            <pc:docMk/>
            <pc:sldMk cId="3311661654" sldId="282"/>
            <ac:spMk id="63" creationId="{755A9FBA-4409-432B-AC0D-32F3B569917F}"/>
          </ac:spMkLst>
        </pc:spChg>
        <pc:spChg chg="add mod ord">
          <ac:chgData name="Frederick King" userId="bb732f183fe92d5e" providerId="LiveId" clId="{E2DCD61D-DC7A-4FDD-B312-815DCBE91D61}" dt="2021-01-13T13:40:19.966" v="7106"/>
          <ac:spMkLst>
            <pc:docMk/>
            <pc:sldMk cId="3311661654" sldId="282"/>
            <ac:spMk id="64" creationId="{8A6C92EA-0668-4EEE-977B-6C316C76892B}"/>
          </ac:spMkLst>
        </pc:spChg>
        <pc:spChg chg="add mod ord">
          <ac:chgData name="Frederick King" userId="bb732f183fe92d5e" providerId="LiveId" clId="{E2DCD61D-DC7A-4FDD-B312-815DCBE91D61}" dt="2021-01-13T13:40:19.968" v="7110"/>
          <ac:spMkLst>
            <pc:docMk/>
            <pc:sldMk cId="3311661654" sldId="282"/>
            <ac:spMk id="65" creationId="{8474416D-370D-4FB4-B9E9-789A8D901D9F}"/>
          </ac:spMkLst>
        </pc:spChg>
        <pc:spChg chg="add mod ord">
          <ac:chgData name="Frederick King" userId="bb732f183fe92d5e" providerId="LiveId" clId="{E2DCD61D-DC7A-4FDD-B312-815DCBE91D61}" dt="2021-01-13T13:40:19.970" v="7114"/>
          <ac:spMkLst>
            <pc:docMk/>
            <pc:sldMk cId="3311661654" sldId="282"/>
            <ac:spMk id="66" creationId="{9C88AC01-FAC2-4D82-A0E4-9BA059CA5B3E}"/>
          </ac:spMkLst>
        </pc:spChg>
        <pc:spChg chg="add mod ord">
          <ac:chgData name="Frederick King" userId="bb732f183fe92d5e" providerId="LiveId" clId="{E2DCD61D-DC7A-4FDD-B312-815DCBE91D61}" dt="2021-01-13T13:40:19.970" v="7116"/>
          <ac:spMkLst>
            <pc:docMk/>
            <pc:sldMk cId="3311661654" sldId="282"/>
            <ac:spMk id="67" creationId="{BF4DF717-0254-4077-A47B-9E631D4A5FE4}"/>
          </ac:spMkLst>
        </pc:spChg>
        <pc:spChg chg="add mod ord">
          <ac:chgData name="Frederick King" userId="bb732f183fe92d5e" providerId="LiveId" clId="{E2DCD61D-DC7A-4FDD-B312-815DCBE91D61}" dt="2021-01-13T13:40:19.971" v="7118"/>
          <ac:spMkLst>
            <pc:docMk/>
            <pc:sldMk cId="3311661654" sldId="282"/>
            <ac:spMk id="68" creationId="{D12F6564-F3F3-4919-8672-8D2E21088534}"/>
          </ac:spMkLst>
        </pc:spChg>
        <pc:spChg chg="add mod ord">
          <ac:chgData name="Frederick King" userId="bb732f183fe92d5e" providerId="LiveId" clId="{E2DCD61D-DC7A-4FDD-B312-815DCBE91D61}" dt="2021-01-13T13:40:19.972" v="7120"/>
          <ac:spMkLst>
            <pc:docMk/>
            <pc:sldMk cId="3311661654" sldId="282"/>
            <ac:spMk id="69" creationId="{8EB1366D-2C08-46A1-A3C1-B50C0ED335A8}"/>
          </ac:spMkLst>
        </pc:spChg>
        <pc:spChg chg="add mod ord">
          <ac:chgData name="Frederick King" userId="bb732f183fe92d5e" providerId="LiveId" clId="{E2DCD61D-DC7A-4FDD-B312-815DCBE91D61}" dt="2021-01-13T13:40:19.973" v="7122"/>
          <ac:spMkLst>
            <pc:docMk/>
            <pc:sldMk cId="3311661654" sldId="282"/>
            <ac:spMk id="70" creationId="{BBBC7242-E72E-44B8-B10E-935AA549929C}"/>
          </ac:spMkLst>
        </pc:spChg>
        <pc:spChg chg="add mod">
          <ac:chgData name="Frederick King" userId="bb732f183fe92d5e" providerId="LiveId" clId="{E2DCD61D-DC7A-4FDD-B312-815DCBE91D61}" dt="2021-01-13T13:40:27.753" v="7303"/>
          <ac:spMkLst>
            <pc:docMk/>
            <pc:sldMk cId="3311661654" sldId="282"/>
            <ac:spMk id="71" creationId="{282C97EC-E743-4AEA-95F4-FDF56180D22E}"/>
          </ac:spMkLst>
        </pc:spChg>
        <pc:spChg chg="add mod">
          <ac:chgData name="Frederick King" userId="bb732f183fe92d5e" providerId="LiveId" clId="{E2DCD61D-DC7A-4FDD-B312-815DCBE91D61}" dt="2021-01-13T13:40:27.769" v="7318"/>
          <ac:spMkLst>
            <pc:docMk/>
            <pc:sldMk cId="3311661654" sldId="282"/>
            <ac:spMk id="72" creationId="{433C3A1B-E105-4F56-ABEC-F1DFA10ACBE7}"/>
          </ac:spMkLst>
        </pc:spChg>
        <pc:spChg chg="add mod">
          <ac:chgData name="Frederick King" userId="bb732f183fe92d5e" providerId="LiveId" clId="{E2DCD61D-DC7A-4FDD-B312-815DCBE91D61}" dt="2021-01-13T13:40:27.753" v="7302"/>
          <ac:spMkLst>
            <pc:docMk/>
            <pc:sldMk cId="3311661654" sldId="282"/>
            <ac:spMk id="73" creationId="{28217B33-BE4B-4CFA-A58C-956793AE25EB}"/>
          </ac:spMkLst>
        </pc:spChg>
        <pc:spChg chg="add mod">
          <ac:chgData name="Frederick King" userId="bb732f183fe92d5e" providerId="LiveId" clId="{E2DCD61D-DC7A-4FDD-B312-815DCBE91D61}" dt="2021-01-13T13:40:27.751" v="7300"/>
          <ac:spMkLst>
            <pc:docMk/>
            <pc:sldMk cId="3311661654" sldId="282"/>
            <ac:spMk id="74" creationId="{DFF9E783-9305-49E8-B839-984D2C221574}"/>
          </ac:spMkLst>
        </pc:spChg>
        <pc:spChg chg="add mod">
          <ac:chgData name="Frederick King" userId="bb732f183fe92d5e" providerId="LiveId" clId="{E2DCD61D-DC7A-4FDD-B312-815DCBE91D61}" dt="2021-01-13T13:40:27.748" v="7298"/>
          <ac:spMkLst>
            <pc:docMk/>
            <pc:sldMk cId="3311661654" sldId="282"/>
            <ac:spMk id="75" creationId="{A67D77CF-32A0-4F9B-AF28-911F775964A2}"/>
          </ac:spMkLst>
        </pc:spChg>
        <pc:spChg chg="add mod">
          <ac:chgData name="Frederick King" userId="bb732f183fe92d5e" providerId="LiveId" clId="{E2DCD61D-DC7A-4FDD-B312-815DCBE91D61}" dt="2021-01-13T13:40:27.757" v="7306"/>
          <ac:spMkLst>
            <pc:docMk/>
            <pc:sldMk cId="3311661654" sldId="282"/>
            <ac:spMk id="76" creationId="{E1D4704A-9BAF-4C13-A822-579BF4472610}"/>
          </ac:spMkLst>
        </pc:spChg>
        <pc:spChg chg="add mod ord">
          <ac:chgData name="Frederick King" userId="bb732f183fe92d5e" providerId="LiveId" clId="{E2DCD61D-DC7A-4FDD-B312-815DCBE91D61}" dt="2021-01-13T13:40:27.790" v="7331" actId="948"/>
          <ac:spMkLst>
            <pc:docMk/>
            <pc:sldMk cId="3311661654" sldId="282"/>
            <ac:spMk id="77" creationId="{C5F11C95-38CA-4F11-AAB5-33E5003CB9C5}"/>
          </ac:spMkLst>
        </pc:spChg>
        <pc:spChg chg="add mod ord">
          <ac:chgData name="Frederick King" userId="bb732f183fe92d5e" providerId="LiveId" clId="{E2DCD61D-DC7A-4FDD-B312-815DCBE91D61}" dt="2021-01-13T13:40:27.790" v="7330" actId="948"/>
          <ac:spMkLst>
            <pc:docMk/>
            <pc:sldMk cId="3311661654" sldId="282"/>
            <ac:spMk id="78" creationId="{ED52382E-5829-41A8-882E-9B1974DA4051}"/>
          </ac:spMkLst>
        </pc:spChg>
        <pc:spChg chg="add mod">
          <ac:chgData name="Frederick King" userId="bb732f183fe92d5e" providerId="LiveId" clId="{E2DCD61D-DC7A-4FDD-B312-815DCBE91D61}" dt="2021-01-13T13:40:27.767" v="7316"/>
          <ac:spMkLst>
            <pc:docMk/>
            <pc:sldMk cId="3311661654" sldId="282"/>
            <ac:spMk id="79" creationId="{884A4A76-DAF5-466D-A2B4-9A8215252423}"/>
          </ac:spMkLst>
        </pc:spChg>
        <pc:spChg chg="add mod">
          <ac:chgData name="Frederick King" userId="bb732f183fe92d5e" providerId="LiveId" clId="{E2DCD61D-DC7A-4FDD-B312-815DCBE91D61}" dt="2021-01-13T13:40:27.763" v="7312"/>
          <ac:spMkLst>
            <pc:docMk/>
            <pc:sldMk cId="3311661654" sldId="282"/>
            <ac:spMk id="80" creationId="{7C36A80D-521E-484E-86DE-83917F87DB3D}"/>
          </ac:spMkLst>
        </pc:spChg>
        <pc:spChg chg="add mod">
          <ac:chgData name="Frederick King" userId="bb732f183fe92d5e" providerId="LiveId" clId="{E2DCD61D-DC7A-4FDD-B312-815DCBE91D61}" dt="2021-01-13T13:40:27.780" v="7328"/>
          <ac:spMkLst>
            <pc:docMk/>
            <pc:sldMk cId="3311661654" sldId="282"/>
            <ac:spMk id="81" creationId="{9078165A-50A6-4C65-A6D6-14DA1F672A2D}"/>
          </ac:spMkLst>
        </pc:spChg>
        <pc:spChg chg="add mod">
          <ac:chgData name="Frederick King" userId="bb732f183fe92d5e" providerId="LiveId" clId="{E2DCD61D-DC7A-4FDD-B312-815DCBE91D61}" dt="2021-01-13T13:40:27.756" v="7305"/>
          <ac:spMkLst>
            <pc:docMk/>
            <pc:sldMk cId="3311661654" sldId="282"/>
            <ac:spMk id="82" creationId="{87E5F35B-500D-40B6-B9F8-11B9C816A820}"/>
          </ac:spMkLst>
        </pc:spChg>
        <pc:spChg chg="add mod">
          <ac:chgData name="Frederick King" userId="bb732f183fe92d5e" providerId="LiveId" clId="{E2DCD61D-DC7A-4FDD-B312-815DCBE91D61}" dt="2021-01-13T13:40:27.775" v="7324"/>
          <ac:spMkLst>
            <pc:docMk/>
            <pc:sldMk cId="3311661654" sldId="282"/>
            <ac:spMk id="83" creationId="{EB60E1BF-D8EB-45FF-A53C-7D344A5CA67A}"/>
          </ac:spMkLst>
        </pc:spChg>
        <pc:spChg chg="add mod">
          <ac:chgData name="Frederick King" userId="bb732f183fe92d5e" providerId="LiveId" clId="{E2DCD61D-DC7A-4FDD-B312-815DCBE91D61}" dt="2021-01-13T13:40:27.758" v="7307"/>
          <ac:spMkLst>
            <pc:docMk/>
            <pc:sldMk cId="3311661654" sldId="282"/>
            <ac:spMk id="84" creationId="{D1AC0186-FD8A-4DFC-B7C1-24AB8A9744CF}"/>
          </ac:spMkLst>
        </pc:spChg>
        <pc:spChg chg="add mod">
          <ac:chgData name="Frederick King" userId="bb732f183fe92d5e" providerId="LiveId" clId="{E2DCD61D-DC7A-4FDD-B312-815DCBE91D61}" dt="2021-01-13T13:40:27.760" v="7309"/>
          <ac:spMkLst>
            <pc:docMk/>
            <pc:sldMk cId="3311661654" sldId="282"/>
            <ac:spMk id="85" creationId="{0607BABE-88D3-4888-AA7E-DABB6D4BCE39}"/>
          </ac:spMkLst>
        </pc:spChg>
        <pc:spChg chg="add mod">
          <ac:chgData name="Frederick King" userId="bb732f183fe92d5e" providerId="LiveId" clId="{E2DCD61D-DC7A-4FDD-B312-815DCBE91D61}" dt="2021-01-13T13:40:27.762" v="7311"/>
          <ac:spMkLst>
            <pc:docMk/>
            <pc:sldMk cId="3311661654" sldId="282"/>
            <ac:spMk id="86" creationId="{60CAAB35-CE12-46DB-BFC1-E1F79BB57BD1}"/>
          </ac:spMkLst>
        </pc:spChg>
        <pc:spChg chg="add mod">
          <ac:chgData name="Frederick King" userId="bb732f183fe92d5e" providerId="LiveId" clId="{E2DCD61D-DC7A-4FDD-B312-815DCBE91D61}" dt="2021-01-13T13:40:27.764" v="7313"/>
          <ac:spMkLst>
            <pc:docMk/>
            <pc:sldMk cId="3311661654" sldId="282"/>
            <ac:spMk id="87" creationId="{471EF7B8-9BDC-44F2-8E41-BC53C43DC003}"/>
          </ac:spMkLst>
        </pc:spChg>
        <pc:spChg chg="add mod">
          <ac:chgData name="Frederick King" userId="bb732f183fe92d5e" providerId="LiveId" clId="{E2DCD61D-DC7A-4FDD-B312-815DCBE91D61}" dt="2021-01-13T13:40:27.766" v="7315"/>
          <ac:spMkLst>
            <pc:docMk/>
            <pc:sldMk cId="3311661654" sldId="282"/>
            <ac:spMk id="88" creationId="{57D97364-54FF-4677-989E-EF23EF00B84D}"/>
          </ac:spMkLst>
        </pc:spChg>
        <pc:spChg chg="add mod">
          <ac:chgData name="Frederick King" userId="bb732f183fe92d5e" providerId="LiveId" clId="{E2DCD61D-DC7A-4FDD-B312-815DCBE91D61}" dt="2021-01-13T13:40:27.768" v="7317"/>
          <ac:spMkLst>
            <pc:docMk/>
            <pc:sldMk cId="3311661654" sldId="282"/>
            <ac:spMk id="89" creationId="{366342D2-6994-412B-917B-249713A581BF}"/>
          </ac:spMkLst>
        </pc:spChg>
        <pc:spChg chg="add mod">
          <ac:chgData name="Frederick King" userId="bb732f183fe92d5e" providerId="LiveId" clId="{E2DCD61D-DC7A-4FDD-B312-815DCBE91D61}" dt="2021-01-13T13:40:27.769" v="7319"/>
          <ac:spMkLst>
            <pc:docMk/>
            <pc:sldMk cId="3311661654" sldId="282"/>
            <ac:spMk id="90" creationId="{A68C1805-8169-4C44-B6A4-F0A56ED7DD00}"/>
          </ac:spMkLst>
        </pc:spChg>
        <pc:spChg chg="add mod">
          <ac:chgData name="Frederick King" userId="bb732f183fe92d5e" providerId="LiveId" clId="{E2DCD61D-DC7A-4FDD-B312-815DCBE91D61}" dt="2021-01-13T13:40:27.772" v="7321"/>
          <ac:spMkLst>
            <pc:docMk/>
            <pc:sldMk cId="3311661654" sldId="282"/>
            <ac:spMk id="91" creationId="{7869FB36-B0B5-4160-A6B2-1E229D8BF1F3}"/>
          </ac:spMkLst>
        </pc:spChg>
        <pc:spChg chg="add mod">
          <ac:chgData name="Frederick King" userId="bb732f183fe92d5e" providerId="LiveId" clId="{E2DCD61D-DC7A-4FDD-B312-815DCBE91D61}" dt="2021-01-13T13:40:27.774" v="7323"/>
          <ac:spMkLst>
            <pc:docMk/>
            <pc:sldMk cId="3311661654" sldId="282"/>
            <ac:spMk id="92" creationId="{094BA4A4-1FD7-4857-A6C7-6E8D1C21CE96}"/>
          </ac:spMkLst>
        </pc:spChg>
        <pc:spChg chg="add mod">
          <ac:chgData name="Frederick King" userId="bb732f183fe92d5e" providerId="LiveId" clId="{E2DCD61D-DC7A-4FDD-B312-815DCBE91D61}" dt="2021-01-13T13:40:27.776" v="7325"/>
          <ac:spMkLst>
            <pc:docMk/>
            <pc:sldMk cId="3311661654" sldId="282"/>
            <ac:spMk id="93" creationId="{CC3FB952-A098-4832-9939-DB5F72CD58E5}"/>
          </ac:spMkLst>
        </pc:spChg>
        <pc:spChg chg="add mod">
          <ac:chgData name="Frederick King" userId="bb732f183fe92d5e" providerId="LiveId" clId="{E2DCD61D-DC7A-4FDD-B312-815DCBE91D61}" dt="2021-01-13T13:40:27.781" v="7329"/>
          <ac:spMkLst>
            <pc:docMk/>
            <pc:sldMk cId="3311661654" sldId="282"/>
            <ac:spMk id="94" creationId="{A7F10E17-C9EF-4E0A-B84F-655BA3088603}"/>
          </ac:spMkLst>
        </pc:spChg>
        <pc:spChg chg="add mod">
          <ac:chgData name="Frederick King" userId="bb732f183fe92d5e" providerId="LiveId" clId="{E2DCD61D-DC7A-4FDD-B312-815DCBE91D61}" dt="2021-01-13T13:40:27.755" v="7304"/>
          <ac:spMkLst>
            <pc:docMk/>
            <pc:sldMk cId="3311661654" sldId="282"/>
            <ac:spMk id="95" creationId="{459267A8-FF3B-432B-8886-58D32F92555C}"/>
          </ac:spMkLst>
        </pc:spChg>
        <pc:spChg chg="add mod ord">
          <ac:chgData name="Frederick King" userId="bb732f183fe92d5e" providerId="LiveId" clId="{E2DCD61D-DC7A-4FDD-B312-815DCBE91D61}" dt="2021-01-13T13:40:27.792" v="7333" actId="948"/>
          <ac:spMkLst>
            <pc:docMk/>
            <pc:sldMk cId="3311661654" sldId="282"/>
            <ac:spMk id="96" creationId="{DFD53D12-314A-47CF-9EF8-295E790E5012}"/>
          </ac:spMkLst>
        </pc:spChg>
        <pc:spChg chg="add mod">
          <ac:chgData name="Frederick King" userId="bb732f183fe92d5e" providerId="LiveId" clId="{E2DCD61D-DC7A-4FDD-B312-815DCBE91D61}" dt="2021-01-13T13:40:27.750" v="7299"/>
          <ac:spMkLst>
            <pc:docMk/>
            <pc:sldMk cId="3311661654" sldId="282"/>
            <ac:spMk id="97" creationId="{2689146F-A70A-471B-9D84-1EB557C0B809}"/>
          </ac:spMkLst>
        </pc:spChg>
        <pc:spChg chg="add mod ord">
          <ac:chgData name="Frederick King" userId="bb732f183fe92d5e" providerId="LiveId" clId="{E2DCD61D-DC7A-4FDD-B312-815DCBE91D61}" dt="2021-01-13T13:40:27.793" v="7334" actId="948"/>
          <ac:spMkLst>
            <pc:docMk/>
            <pc:sldMk cId="3311661654" sldId="282"/>
            <ac:spMk id="98" creationId="{66B05058-87B7-4848-A369-8C5D599CD957}"/>
          </ac:spMkLst>
        </pc:spChg>
        <pc:spChg chg="add mod">
          <ac:chgData name="Frederick King" userId="bb732f183fe92d5e" providerId="LiveId" clId="{E2DCD61D-DC7A-4FDD-B312-815DCBE91D61}" dt="2021-01-13T13:40:27.752" v="7301"/>
          <ac:spMkLst>
            <pc:docMk/>
            <pc:sldMk cId="3311661654" sldId="282"/>
            <ac:spMk id="99" creationId="{6B2D4F4C-F7A1-4966-84EB-6C6187AA2957}"/>
          </ac:spMkLst>
        </pc:spChg>
        <pc:spChg chg="add mod">
          <ac:chgData name="Frederick King" userId="bb732f183fe92d5e" providerId="LiveId" clId="{E2DCD61D-DC7A-4FDD-B312-815DCBE91D61}" dt="2021-01-13T13:40:27.773" v="7322"/>
          <ac:spMkLst>
            <pc:docMk/>
            <pc:sldMk cId="3311661654" sldId="282"/>
            <ac:spMk id="100" creationId="{923FB8B0-C405-46C1-A596-3447E834EC85}"/>
          </ac:spMkLst>
        </pc:spChg>
        <pc:spChg chg="add mod">
          <ac:chgData name="Frederick King" userId="bb732f183fe92d5e" providerId="LiveId" clId="{E2DCD61D-DC7A-4FDD-B312-815DCBE91D61}" dt="2021-01-13T13:40:27.770" v="7320"/>
          <ac:spMkLst>
            <pc:docMk/>
            <pc:sldMk cId="3311661654" sldId="282"/>
            <ac:spMk id="101" creationId="{7634D66E-383B-4F91-92E5-AA92483898A7}"/>
          </ac:spMkLst>
        </pc:spChg>
        <pc:spChg chg="add mod">
          <ac:chgData name="Frederick King" userId="bb732f183fe92d5e" providerId="LiveId" clId="{E2DCD61D-DC7A-4FDD-B312-815DCBE91D61}" dt="2021-01-13T13:40:27.765" v="7314"/>
          <ac:spMkLst>
            <pc:docMk/>
            <pc:sldMk cId="3311661654" sldId="282"/>
            <ac:spMk id="102" creationId="{624DEE4C-E43E-4E1D-BCF4-50D12BDEDC0F}"/>
          </ac:spMkLst>
        </pc:spChg>
        <pc:spChg chg="add mod">
          <ac:chgData name="Frederick King" userId="bb732f183fe92d5e" providerId="LiveId" clId="{E2DCD61D-DC7A-4FDD-B312-815DCBE91D61}" dt="2021-01-13T13:40:27.761" v="7310"/>
          <ac:spMkLst>
            <pc:docMk/>
            <pc:sldMk cId="3311661654" sldId="282"/>
            <ac:spMk id="103" creationId="{F9316DD7-EE02-4429-A81A-EDE26E4C84F6}"/>
          </ac:spMkLst>
        </pc:spChg>
        <pc:spChg chg="add mod">
          <ac:chgData name="Frederick King" userId="bb732f183fe92d5e" providerId="LiveId" clId="{E2DCD61D-DC7A-4FDD-B312-815DCBE91D61}" dt="2021-01-13T13:40:27.759" v="7308"/>
          <ac:spMkLst>
            <pc:docMk/>
            <pc:sldMk cId="3311661654" sldId="282"/>
            <ac:spMk id="104" creationId="{75C45D6F-33C0-4027-BE89-BB29FE996F30}"/>
          </ac:spMkLst>
        </pc:spChg>
        <pc:spChg chg="add mod ord">
          <ac:chgData name="Frederick King" userId="bb732f183fe92d5e" providerId="LiveId" clId="{E2DCD61D-DC7A-4FDD-B312-815DCBE91D61}" dt="2021-01-13T13:40:27.791" v="7332" actId="948"/>
          <ac:spMkLst>
            <pc:docMk/>
            <pc:sldMk cId="3311661654" sldId="282"/>
            <ac:spMk id="105" creationId="{1EBF8D37-349A-44E3-BFF2-EA13F5DD8620}"/>
          </ac:spMkLst>
        </pc:spChg>
        <pc:spChg chg="add mod">
          <ac:chgData name="Frederick King" userId="bb732f183fe92d5e" providerId="LiveId" clId="{E2DCD61D-DC7A-4FDD-B312-815DCBE91D61}" dt="2021-01-13T13:40:27.897" v="7336"/>
          <ac:spMkLst>
            <pc:docMk/>
            <pc:sldMk cId="3311661654" sldId="282"/>
            <ac:spMk id="106" creationId="{DA2BD129-928D-48A2-9886-879E4F2987FD}"/>
          </ac:spMkLst>
        </pc:spChg>
        <pc:spChg chg="add mod">
          <ac:chgData name="Frederick King" userId="bb732f183fe92d5e" providerId="LiveId" clId="{E2DCD61D-DC7A-4FDD-B312-815DCBE91D61}" dt="2021-01-13T13:40:27.779" v="7327"/>
          <ac:spMkLst>
            <pc:docMk/>
            <pc:sldMk cId="3311661654" sldId="282"/>
            <ac:spMk id="107" creationId="{E4BC1AEE-8EF2-4059-B47B-8CC712A24F93}"/>
          </ac:spMkLst>
        </pc:spChg>
        <pc:spChg chg="add del mod ord modVis">
          <ac:chgData name="Frederick King" userId="bb732f183fe92d5e" providerId="LiveId" clId="{E2DCD61D-DC7A-4FDD-B312-815DCBE91D61}" dt="2021-01-13T13:40:19.997" v="7168"/>
          <ac:spMkLst>
            <pc:docMk/>
            <pc:sldMk cId="3311661654" sldId="282"/>
            <ac:spMk id="108" creationId="{DD364368-37F8-441C-A195-64518B119F0E}"/>
          </ac:spMkLst>
        </pc:spChg>
        <pc:spChg chg="add del mod modVis">
          <ac:chgData name="Frederick King" userId="bb732f183fe92d5e" providerId="LiveId" clId="{E2DCD61D-DC7A-4FDD-B312-815DCBE91D61}" dt="2021-01-13T13:41:27.940" v="7522" actId="962"/>
          <ac:spMkLst>
            <pc:docMk/>
            <pc:sldMk cId="3311661654" sldId="282"/>
            <ac:spMk id="109" creationId="{D702B19D-7CD8-46EA-B1A0-90087AFBC609}"/>
          </ac:spMkLst>
        </pc:spChg>
        <pc:spChg chg="add del mod modVis">
          <ac:chgData name="Frederick King" userId="bb732f183fe92d5e" providerId="LiveId" clId="{E2DCD61D-DC7A-4FDD-B312-815DCBE91D61}" dt="2021-01-13T13:41:27.602" v="7482" actId="962"/>
          <ac:spMkLst>
            <pc:docMk/>
            <pc:sldMk cId="3311661654" sldId="282"/>
            <ac:spMk id="110" creationId="{7C7E3054-8436-41D5-B465-3ED6F17213FF}"/>
          </ac:spMkLst>
        </pc:spChg>
        <pc:spChg chg="add del mod modVis">
          <ac:chgData name="Frederick King" userId="bb732f183fe92d5e" providerId="LiveId" clId="{E2DCD61D-DC7A-4FDD-B312-815DCBE91D61}" dt="2021-01-13T13:41:37.623" v="7574"/>
          <ac:spMkLst>
            <pc:docMk/>
            <pc:sldMk cId="3311661654" sldId="282"/>
            <ac:spMk id="111" creationId="{80C82637-B630-4DF3-8E32-1DF1BE76CB9E}"/>
          </ac:spMkLst>
        </pc:spChg>
        <pc:spChg chg="add del mod modVis">
          <ac:chgData name="Frederick King" userId="bb732f183fe92d5e" providerId="LiveId" clId="{E2DCD61D-DC7A-4FDD-B312-815DCBE91D61}" dt="2021-01-13T13:41:38.588" v="7619"/>
          <ac:spMkLst>
            <pc:docMk/>
            <pc:sldMk cId="3311661654" sldId="282"/>
            <ac:spMk id="112" creationId="{148A97AE-7EC0-4040-A87A-35CB21A2F6A5}"/>
          </ac:spMkLst>
        </pc:spChg>
        <pc:spChg chg="add del mod modVis">
          <ac:chgData name="Frederick King" userId="bb732f183fe92d5e" providerId="LiveId" clId="{E2DCD61D-DC7A-4FDD-B312-815DCBE91D61}" dt="2021-01-13T13:41:39.609" v="7662"/>
          <ac:spMkLst>
            <pc:docMk/>
            <pc:sldMk cId="3311661654" sldId="282"/>
            <ac:spMk id="113" creationId="{AC9AB82E-BB8E-4126-81AD-006196AA50FC}"/>
          </ac:spMkLst>
        </pc:spChg>
        <pc:spChg chg="add del mod modVis">
          <ac:chgData name="Frederick King" userId="bb732f183fe92d5e" providerId="LiveId" clId="{E2DCD61D-DC7A-4FDD-B312-815DCBE91D61}" dt="2021-01-13T13:41:40.339" v="7703"/>
          <ac:spMkLst>
            <pc:docMk/>
            <pc:sldMk cId="3311661654" sldId="282"/>
            <ac:spMk id="114" creationId="{4DCE3EE2-5CFC-4EE1-AE53-E688E961A790}"/>
          </ac:spMkLst>
        </pc:spChg>
        <pc:spChg chg="add del mod modVis">
          <ac:chgData name="Frederick King" userId="bb732f183fe92d5e" providerId="LiveId" clId="{E2DCD61D-DC7A-4FDD-B312-815DCBE91D61}" dt="2021-01-13T13:41:42.070" v="7749"/>
          <ac:spMkLst>
            <pc:docMk/>
            <pc:sldMk cId="3311661654" sldId="282"/>
            <ac:spMk id="115" creationId="{1D60C4CA-6E9E-4871-8A73-8B410A635204}"/>
          </ac:spMkLst>
        </pc:spChg>
        <pc:spChg chg="add del mod modVis">
          <ac:chgData name="Frederick King" userId="bb732f183fe92d5e" providerId="LiveId" clId="{E2DCD61D-DC7A-4FDD-B312-815DCBE91D61}" dt="2021-01-13T13:41:43.706" v="7792"/>
          <ac:spMkLst>
            <pc:docMk/>
            <pc:sldMk cId="3311661654" sldId="282"/>
            <ac:spMk id="116" creationId="{833BBAAF-2268-498D-83B4-9E1834E5AEE0}"/>
          </ac:spMkLst>
        </pc:spChg>
        <pc:spChg chg="add del mod modVis">
          <ac:chgData name="Frederick King" userId="bb732f183fe92d5e" providerId="LiveId" clId="{E2DCD61D-DC7A-4FDD-B312-815DCBE91D61}" dt="2021-01-13T13:41:44.553" v="7834"/>
          <ac:spMkLst>
            <pc:docMk/>
            <pc:sldMk cId="3311661654" sldId="282"/>
            <ac:spMk id="117" creationId="{ECE417A9-7F63-4227-8A14-4B5D666B5E9D}"/>
          </ac:spMkLst>
        </pc:spChg>
        <pc:spChg chg="add del mod modVis">
          <ac:chgData name="Frederick King" userId="bb732f183fe92d5e" providerId="LiveId" clId="{E2DCD61D-DC7A-4FDD-B312-815DCBE91D61}" dt="2021-01-13T13:41:45.112" v="7876"/>
          <ac:spMkLst>
            <pc:docMk/>
            <pc:sldMk cId="3311661654" sldId="282"/>
            <ac:spMk id="118" creationId="{B574608B-FFDA-4463-BC5F-C3B454A36726}"/>
          </ac:spMkLst>
        </pc:spChg>
        <pc:graphicFrameChg chg="mod ord">
          <ac:chgData name="Frederick King" userId="bb732f183fe92d5e" providerId="LiveId" clId="{E2DCD61D-DC7A-4FDD-B312-815DCBE91D61}" dt="2021-01-13T13:41:45.118" v="7878"/>
          <ac:graphicFrameMkLst>
            <pc:docMk/>
            <pc:sldMk cId="3311661654" sldId="282"/>
            <ac:graphicFrameMk id="11" creationId="{EFB91133-0E2F-48F6-A178-B17E2BEC5EAB}"/>
          </ac:graphicFrameMkLst>
        </pc:graphicFrameChg>
        <pc:cxnChg chg="add del mod">
          <ac:chgData name="Frederick King" userId="bb732f183fe92d5e" providerId="LiveId" clId="{E2DCD61D-DC7A-4FDD-B312-815DCBE91D61}" dt="2021-01-13T13:32:47.727" v="6426"/>
          <ac:cxnSpMkLst>
            <pc:docMk/>
            <pc:sldMk cId="3311661654" sldId="282"/>
            <ac:cxnSpMk id="4" creationId="{CF2B90F2-5BD0-45F5-8EBB-49BBB9CC6EC2}"/>
          </ac:cxnSpMkLst>
        </pc:cxnChg>
        <pc:cxnChg chg="add mod ord">
          <ac:chgData name="Frederick King" userId="bb732f183fe92d5e" providerId="LiveId" clId="{E2DCD61D-DC7A-4FDD-B312-815DCBE91D61}" dt="2021-01-13T13:40:19.949" v="7066"/>
          <ac:cxnSpMkLst>
            <pc:docMk/>
            <pc:sldMk cId="3311661654" sldId="282"/>
            <ac:cxnSpMk id="39" creationId="{A4AD7B95-4B96-4D40-A1BB-D3A16CC6B4F4}"/>
          </ac:cxnSpMkLst>
        </pc:cxnChg>
        <pc:cxnChg chg="add mod ord">
          <ac:chgData name="Frederick King" userId="bb732f183fe92d5e" providerId="LiveId" clId="{E2DCD61D-DC7A-4FDD-B312-815DCBE91D61}" dt="2021-01-13T13:40:19.951" v="7070"/>
          <ac:cxnSpMkLst>
            <pc:docMk/>
            <pc:sldMk cId="3311661654" sldId="282"/>
            <ac:cxnSpMk id="40" creationId="{C4F2DEC9-3820-4450-B053-DDA6D7D8D4B8}"/>
          </ac:cxnSpMkLst>
        </pc:cxnChg>
        <pc:cxnChg chg="add mod ord">
          <ac:chgData name="Frederick King" userId="bb732f183fe92d5e" providerId="LiveId" clId="{E2DCD61D-DC7A-4FDD-B312-815DCBE91D61}" dt="2021-01-13T13:40:19.952" v="7074"/>
          <ac:cxnSpMkLst>
            <pc:docMk/>
            <pc:sldMk cId="3311661654" sldId="282"/>
            <ac:cxnSpMk id="41" creationId="{B5360900-3ED8-439F-B8B8-C200B3426458}"/>
          </ac:cxnSpMkLst>
        </pc:cxnChg>
        <pc:cxnChg chg="add mod ord">
          <ac:chgData name="Frederick King" userId="bb732f183fe92d5e" providerId="LiveId" clId="{E2DCD61D-DC7A-4FDD-B312-815DCBE91D61}" dt="2021-01-13T13:40:19.948" v="7064"/>
          <ac:cxnSpMkLst>
            <pc:docMk/>
            <pc:sldMk cId="3311661654" sldId="282"/>
            <ac:cxnSpMk id="42" creationId="{A09DDD58-D447-4FBC-BC61-B8F0292630B6}"/>
          </ac:cxnSpMkLst>
        </pc:cxnChg>
        <pc:cxnChg chg="add mod ord">
          <ac:chgData name="Frederick King" userId="bb732f183fe92d5e" providerId="LiveId" clId="{E2DCD61D-DC7A-4FDD-B312-815DCBE91D61}" dt="2021-01-13T13:40:19.947" v="7062"/>
          <ac:cxnSpMkLst>
            <pc:docMk/>
            <pc:sldMk cId="3311661654" sldId="282"/>
            <ac:cxnSpMk id="43" creationId="{226B1C3D-B112-4A09-99F7-102129E6F7DF}"/>
          </ac:cxnSpMkLst>
        </pc:cxnChg>
        <pc:cxnChg chg="add mod ord">
          <ac:chgData name="Frederick King" userId="bb732f183fe92d5e" providerId="LiveId" clId="{E2DCD61D-DC7A-4FDD-B312-815DCBE91D61}" dt="2021-01-13T13:40:19.955" v="7080"/>
          <ac:cxnSpMkLst>
            <pc:docMk/>
            <pc:sldMk cId="3311661654" sldId="282"/>
            <ac:cxnSpMk id="44" creationId="{8863442F-3339-49E9-A1A0-E307B5F8AB21}"/>
          </ac:cxnSpMkLst>
        </pc:cxnChg>
        <pc:cxnChg chg="add mod ord">
          <ac:chgData name="Frederick King" userId="bb732f183fe92d5e" providerId="LiveId" clId="{E2DCD61D-DC7A-4FDD-B312-815DCBE91D61}" dt="2021-01-13T13:40:19.957" v="7086"/>
          <ac:cxnSpMkLst>
            <pc:docMk/>
            <pc:sldMk cId="3311661654" sldId="282"/>
            <ac:cxnSpMk id="45" creationId="{DDEE323D-6A97-441C-B4B5-C719977D3CC3}"/>
          </ac:cxnSpMkLst>
        </pc:cxnChg>
        <pc:cxnChg chg="add mod ord">
          <ac:chgData name="Frederick King" userId="bb732f183fe92d5e" providerId="LiveId" clId="{E2DCD61D-DC7A-4FDD-B312-815DCBE91D61}" dt="2021-01-13T13:40:19.957" v="7084"/>
          <ac:cxnSpMkLst>
            <pc:docMk/>
            <pc:sldMk cId="3311661654" sldId="282"/>
            <ac:cxnSpMk id="46" creationId="{6E048096-A9C8-4E2F-A676-E6FD0F4F8D20}"/>
          </ac:cxnSpMkLst>
        </pc:cxnChg>
        <pc:cxnChg chg="add mod ord">
          <ac:chgData name="Frederick King" userId="bb732f183fe92d5e" providerId="LiveId" clId="{E2DCD61D-DC7A-4FDD-B312-815DCBE91D61}" dt="2021-01-13T13:40:19.946" v="7060"/>
          <ac:cxnSpMkLst>
            <pc:docMk/>
            <pc:sldMk cId="3311661654" sldId="282"/>
            <ac:cxnSpMk id="47" creationId="{33232053-1484-42D8-9A46-57D3F7D1FE5B}"/>
          </ac:cxnSpMkLst>
        </pc:cxnChg>
        <pc:cxnChg chg="add mod ord">
          <ac:chgData name="Frederick King" userId="bb732f183fe92d5e" providerId="LiveId" clId="{E2DCD61D-DC7A-4FDD-B312-815DCBE91D61}" dt="2021-01-13T13:40:19.956" v="7082"/>
          <ac:cxnSpMkLst>
            <pc:docMk/>
            <pc:sldMk cId="3311661654" sldId="282"/>
            <ac:cxnSpMk id="48" creationId="{C555568B-9413-43C2-8588-492FC34DAC12}"/>
          </ac:cxnSpMkLst>
        </pc:cxnChg>
        <pc:cxnChg chg="add mod ord">
          <ac:chgData name="Frederick King" userId="bb732f183fe92d5e" providerId="LiveId" clId="{E2DCD61D-DC7A-4FDD-B312-815DCBE91D61}" dt="2021-01-13T13:40:19.952" v="7072"/>
          <ac:cxnSpMkLst>
            <pc:docMk/>
            <pc:sldMk cId="3311661654" sldId="282"/>
            <ac:cxnSpMk id="49" creationId="{5EF0366E-C710-4C45-B171-5D5041E3E214}"/>
          </ac:cxnSpMkLst>
        </pc:cxnChg>
        <pc:cxnChg chg="add mod ord">
          <ac:chgData name="Frederick King" userId="bb732f183fe92d5e" providerId="LiveId" clId="{E2DCD61D-DC7A-4FDD-B312-815DCBE91D61}" dt="2021-01-13T13:40:19.953" v="7076"/>
          <ac:cxnSpMkLst>
            <pc:docMk/>
            <pc:sldMk cId="3311661654" sldId="282"/>
            <ac:cxnSpMk id="50" creationId="{8366E251-EE45-482D-8096-43A0FE442804}"/>
          </ac:cxnSpMkLst>
        </pc:cxnChg>
        <pc:cxnChg chg="add mod ord">
          <ac:chgData name="Frederick King" userId="bb732f183fe92d5e" providerId="LiveId" clId="{E2DCD61D-DC7A-4FDD-B312-815DCBE91D61}" dt="2021-01-13T13:40:19.950" v="7068"/>
          <ac:cxnSpMkLst>
            <pc:docMk/>
            <pc:sldMk cId="3311661654" sldId="282"/>
            <ac:cxnSpMk id="51" creationId="{AD65322B-9088-49BC-99E0-87BF06A1600A}"/>
          </ac:cxnSpMkLst>
        </pc:cxnChg>
        <pc:cxnChg chg="add mod ord">
          <ac:chgData name="Frederick King" userId="bb732f183fe92d5e" providerId="LiveId" clId="{E2DCD61D-DC7A-4FDD-B312-815DCBE91D61}" dt="2021-01-13T13:40:19.954" v="7078"/>
          <ac:cxnSpMkLst>
            <pc:docMk/>
            <pc:sldMk cId="3311661654" sldId="282"/>
            <ac:cxnSpMk id="52" creationId="{1DED67B2-E0E1-4558-AD65-5D0FD459C75E}"/>
          </ac:cxnSpMkLst>
        </pc:cxnChg>
        <pc:cxnChg chg="add mod ord">
          <ac:chgData name="Frederick King" userId="bb732f183fe92d5e" providerId="LiveId" clId="{E2DCD61D-DC7A-4FDD-B312-815DCBE91D61}" dt="2021-01-13T13:40:19.958" v="7088"/>
          <ac:cxnSpMkLst>
            <pc:docMk/>
            <pc:sldMk cId="3311661654" sldId="282"/>
            <ac:cxnSpMk id="53" creationId="{B9664646-6951-4942-8F09-4EBC447B218D}"/>
          </ac:cxnSpMkLst>
        </pc:cxnChg>
        <pc:cxnChg chg="add mod ord">
          <ac:chgData name="Frederick King" userId="bb732f183fe92d5e" providerId="LiveId" clId="{E2DCD61D-DC7A-4FDD-B312-815DCBE91D61}" dt="2021-01-13T13:40:19.959" v="7090"/>
          <ac:cxnSpMkLst>
            <pc:docMk/>
            <pc:sldMk cId="3311661654" sldId="282"/>
            <ac:cxnSpMk id="54" creationId="{12378AB0-BB84-4CD8-9577-FDED78747D24}"/>
          </ac:cxnSpMkLst>
        </pc:cxnChg>
        <pc:cxnChg chg="add mod ord">
          <ac:chgData name="Frederick King" userId="bb732f183fe92d5e" providerId="LiveId" clId="{E2DCD61D-DC7A-4FDD-B312-815DCBE91D61}" dt="2021-01-13T13:40:19.960" v="7092"/>
          <ac:cxnSpMkLst>
            <pc:docMk/>
            <pc:sldMk cId="3311661654" sldId="282"/>
            <ac:cxnSpMk id="55" creationId="{40EFF1B0-2B0C-4933-8B9F-71ECD9B86430}"/>
          </ac:cxnSpMkLst>
        </pc:cxnChg>
        <pc:cxnChg chg="add mod ord">
          <ac:chgData name="Frederick King" userId="bb732f183fe92d5e" providerId="LiveId" clId="{E2DCD61D-DC7A-4FDD-B312-815DCBE91D61}" dt="2021-01-13T13:40:19.961" v="7094"/>
          <ac:cxnSpMkLst>
            <pc:docMk/>
            <pc:sldMk cId="3311661654" sldId="282"/>
            <ac:cxnSpMk id="56" creationId="{F0BE66DA-4B93-4514-AF7B-33B61074F667}"/>
          </ac:cxnSpMkLst>
        </pc:cxnChg>
      </pc:sldChg>
      <pc:sldChg chg="addSp delSp modSp add mod">
        <pc:chgData name="Frederick King" userId="bb732f183fe92d5e" providerId="LiveId" clId="{E2DCD61D-DC7A-4FDD-B312-815DCBE91D61}" dt="2021-01-13T15:06:16.115" v="8288" actId="207"/>
        <pc:sldMkLst>
          <pc:docMk/>
          <pc:sldMk cId="2110684806" sldId="283"/>
        </pc:sldMkLst>
        <pc:spChg chg="mod">
          <ac:chgData name="Frederick King" userId="bb732f183fe92d5e" providerId="LiveId" clId="{E2DCD61D-DC7A-4FDD-B312-815DCBE91D61}" dt="2021-01-13T15:04:42.285" v="8197" actId="948"/>
          <ac:spMkLst>
            <pc:docMk/>
            <pc:sldMk cId="2110684806" sldId="283"/>
            <ac:spMk id="2" creationId="{2C72BAFB-38D4-4258-BA15-1CFBBCCB4463}"/>
          </ac:spMkLst>
        </pc:spChg>
        <pc:spChg chg="add del mod modVis">
          <ac:chgData name="Frederick King" userId="bb732f183fe92d5e" providerId="LiveId" clId="{E2DCD61D-DC7A-4FDD-B312-815DCBE91D61}" dt="2021-01-13T15:04:37.737" v="8136"/>
          <ac:spMkLst>
            <pc:docMk/>
            <pc:sldMk cId="2110684806" sldId="283"/>
            <ac:spMk id="3" creationId="{E86C458A-6BBC-4F2E-B3F9-FA8A85544AB2}"/>
          </ac:spMkLst>
        </pc:spChg>
        <pc:spChg chg="add del mod modVis">
          <ac:chgData name="Frederick King" userId="bb732f183fe92d5e" providerId="LiveId" clId="{E2DCD61D-DC7A-4FDD-B312-815DCBE91D61}" dt="2021-01-13T15:04:40.195" v="8186"/>
          <ac:spMkLst>
            <pc:docMk/>
            <pc:sldMk cId="2110684806" sldId="283"/>
            <ac:spMk id="4" creationId="{F773ADE8-C6DE-4292-86EB-1AA3C61288E3}"/>
          </ac:spMkLst>
        </pc:spChg>
        <pc:spChg chg="del">
          <ac:chgData name="Frederick King" userId="bb732f183fe92d5e" providerId="LiveId" clId="{E2DCD61D-DC7A-4FDD-B312-815DCBE91D61}" dt="2021-01-13T14:59:14.640" v="8073" actId="478"/>
          <ac:spMkLst>
            <pc:docMk/>
            <pc:sldMk cId="2110684806" sldId="283"/>
            <ac:spMk id="5" creationId="{B31C416B-DB54-499B-9CD0-2251F000CCEB}"/>
          </ac:spMkLst>
        </pc:spChg>
        <pc:spChg chg="del">
          <ac:chgData name="Frederick King" userId="bb732f183fe92d5e" providerId="LiveId" clId="{E2DCD61D-DC7A-4FDD-B312-815DCBE91D61}" dt="2021-01-13T14:59:14.640" v="8073" actId="478"/>
          <ac:spMkLst>
            <pc:docMk/>
            <pc:sldMk cId="2110684806" sldId="283"/>
            <ac:spMk id="6" creationId="{C6603FAD-9C84-46A6-B9DB-52EF18C21C65}"/>
          </ac:spMkLst>
        </pc:spChg>
        <pc:spChg chg="add del mod modVis">
          <ac:chgData name="Frederick King" userId="bb732f183fe92d5e" providerId="LiveId" clId="{E2DCD61D-DC7A-4FDD-B312-815DCBE91D61}" dt="2021-01-13T15:04:42.334" v="8234"/>
          <ac:spMkLst>
            <pc:docMk/>
            <pc:sldMk cId="2110684806" sldId="283"/>
            <ac:spMk id="7" creationId="{BD9CD17E-0AA1-4F55-9BED-576C5C55CC15}"/>
          </ac:spMkLst>
        </pc:spChg>
        <pc:spChg chg="del">
          <ac:chgData name="Frederick King" userId="bb732f183fe92d5e" providerId="LiveId" clId="{E2DCD61D-DC7A-4FDD-B312-815DCBE91D61}" dt="2021-01-13T14:59:14.640" v="8073" actId="478"/>
          <ac:spMkLst>
            <pc:docMk/>
            <pc:sldMk cId="2110684806" sldId="283"/>
            <ac:spMk id="8" creationId="{A5B5FE28-691C-42F9-AC24-7A6546E33E89}"/>
          </ac:spMkLst>
        </pc:spChg>
        <pc:spChg chg="del">
          <ac:chgData name="Frederick King" userId="bb732f183fe92d5e" providerId="LiveId" clId="{E2DCD61D-DC7A-4FDD-B312-815DCBE91D61}" dt="2021-01-13T14:59:14.640" v="8073" actId="478"/>
          <ac:spMkLst>
            <pc:docMk/>
            <pc:sldMk cId="2110684806" sldId="283"/>
            <ac:spMk id="9" creationId="{4BFBE253-46C2-4A5A-B92B-D6E79BFB03EC}"/>
          </ac:spMkLst>
        </pc:spChg>
        <pc:graphicFrameChg chg="add mod modGraphic">
          <ac:chgData name="Frederick King" userId="bb732f183fe92d5e" providerId="LiveId" clId="{E2DCD61D-DC7A-4FDD-B312-815DCBE91D61}" dt="2021-01-13T15:06:16.115" v="8288" actId="207"/>
          <ac:graphicFrameMkLst>
            <pc:docMk/>
            <pc:sldMk cId="2110684806" sldId="283"/>
            <ac:graphicFrameMk id="10" creationId="{BA66F5EB-925A-4FC3-BAC7-F030C4B3404D}"/>
          </ac:graphicFrameMkLst>
        </pc:graphicFrameChg>
        <pc:graphicFrameChg chg="mod">
          <ac:chgData name="Frederick King" userId="bb732f183fe92d5e" providerId="LiveId" clId="{E2DCD61D-DC7A-4FDD-B312-815DCBE91D61}" dt="2021-01-13T15:04:42.334" v="8236"/>
          <ac:graphicFrameMkLst>
            <pc:docMk/>
            <pc:sldMk cId="2110684806" sldId="283"/>
            <ac:graphicFrameMk id="11" creationId="{EFB91133-0E2F-48F6-A178-B17E2BEC5EAB}"/>
          </ac:graphicFrameMkLst>
        </pc:graphicFrameChg>
      </pc:sldChg>
      <pc:sldChg chg="addSp delSp modSp new add mod">
        <pc:chgData name="Frederick King" userId="bb732f183fe92d5e" providerId="LiveId" clId="{E2DCD61D-DC7A-4FDD-B312-815DCBE91D61}" dt="2021-01-14T10:52:34.103" v="8389" actId="1035"/>
        <pc:sldMkLst>
          <pc:docMk/>
          <pc:sldMk cId="4162877925" sldId="284"/>
        </pc:sldMkLst>
        <pc:spChg chg="mod">
          <ac:chgData name="Frederick King" userId="bb732f183fe92d5e" providerId="LiveId" clId="{E2DCD61D-DC7A-4FDD-B312-815DCBE91D61}" dt="2021-01-14T10:50:20.984" v="8316" actId="948"/>
          <ac:spMkLst>
            <pc:docMk/>
            <pc:sldMk cId="4162877925" sldId="284"/>
            <ac:spMk id="2" creationId="{8859D92D-701B-4124-A2E8-10495730A344}"/>
          </ac:spMkLst>
        </pc:spChg>
        <pc:spChg chg="del">
          <ac:chgData name="Frederick King" userId="bb732f183fe92d5e" providerId="LiveId" clId="{E2DCD61D-DC7A-4FDD-B312-815DCBE91D61}" dt="2021-01-14T10:50:14.678" v="8292" actId="478"/>
          <ac:spMkLst>
            <pc:docMk/>
            <pc:sldMk cId="4162877925" sldId="284"/>
            <ac:spMk id="3" creationId="{A3A4B5BE-2AF6-4CB9-84A4-EB366D979ED8}"/>
          </ac:spMkLst>
        </pc:spChg>
        <pc:graphicFrameChg chg="add mod modGraphic">
          <ac:chgData name="Frederick King" userId="bb732f183fe92d5e" providerId="LiveId" clId="{E2DCD61D-DC7A-4FDD-B312-815DCBE91D61}" dt="2021-01-14T10:52:34.103" v="8389" actId="1035"/>
          <ac:graphicFrameMkLst>
            <pc:docMk/>
            <pc:sldMk cId="4162877925" sldId="284"/>
            <ac:graphicFrameMk id="4" creationId="{0D8B8836-472E-4B5B-A7ED-A4E38E258A37}"/>
          </ac:graphicFrameMkLst>
        </pc:graphicFrameChg>
        <pc:graphicFrameChg chg="add mod ord modVis">
          <ac:chgData name="Frederick King" userId="bb732f183fe92d5e" providerId="LiveId" clId="{E2DCD61D-DC7A-4FDD-B312-815DCBE91D61}" dt="2021-01-14T10:50:20.984" v="8318"/>
          <ac:graphicFrameMkLst>
            <pc:docMk/>
            <pc:sldMk cId="4162877925" sldId="284"/>
            <ac:graphicFrameMk id="5" creationId="{4D38E265-9AD5-4BC9-9888-26528D78243D}"/>
          </ac:graphicFrameMkLst>
        </pc:graphicFrameChg>
      </pc:sldChg>
      <pc:sldChg chg="addSp delSp modSp new add mod">
        <pc:chgData name="Frederick King" userId="bb732f183fe92d5e" providerId="LiveId" clId="{E2DCD61D-DC7A-4FDD-B312-815DCBE91D61}" dt="2021-01-14T11:15:41.398" v="8678" actId="20577"/>
        <pc:sldMkLst>
          <pc:docMk/>
          <pc:sldMk cId="2292278634" sldId="285"/>
        </pc:sldMkLst>
        <pc:spChg chg="mod">
          <ac:chgData name="Frederick King" userId="bb732f183fe92d5e" providerId="LiveId" clId="{E2DCD61D-DC7A-4FDD-B312-815DCBE91D61}" dt="2021-01-14T11:04:23.574" v="8447" actId="948"/>
          <ac:spMkLst>
            <pc:docMk/>
            <pc:sldMk cId="2292278634" sldId="285"/>
            <ac:spMk id="2" creationId="{53D57545-5140-4A3C-9D72-E83217B177FF}"/>
          </ac:spMkLst>
        </pc:spChg>
        <pc:spChg chg="del">
          <ac:chgData name="Frederick King" userId="bb732f183fe92d5e" providerId="LiveId" clId="{E2DCD61D-DC7A-4FDD-B312-815DCBE91D61}" dt="2021-01-14T11:04:28.467" v="8487" actId="478"/>
          <ac:spMkLst>
            <pc:docMk/>
            <pc:sldMk cId="2292278634" sldId="285"/>
            <ac:spMk id="3" creationId="{326B106C-BEE5-4F5D-B7EC-D7903417CC71}"/>
          </ac:spMkLst>
        </pc:spChg>
        <pc:spChg chg="add del mod modVis">
          <ac:chgData name="Frederick King" userId="bb732f183fe92d5e" providerId="LiveId" clId="{E2DCD61D-DC7A-4FDD-B312-815DCBE91D61}" dt="2021-01-14T11:04:13.488" v="8430"/>
          <ac:spMkLst>
            <pc:docMk/>
            <pc:sldMk cId="2292278634" sldId="285"/>
            <ac:spMk id="4" creationId="{B0DDB294-461F-40D3-9D13-70FF262D91D7}"/>
          </ac:spMkLst>
        </pc:spChg>
        <pc:spChg chg="add del mod modVis">
          <ac:chgData name="Frederick King" userId="bb732f183fe92d5e" providerId="LiveId" clId="{E2DCD61D-DC7A-4FDD-B312-815DCBE91D61}" dt="2021-01-14T11:04:23.605" v="8484"/>
          <ac:spMkLst>
            <pc:docMk/>
            <pc:sldMk cId="2292278634" sldId="285"/>
            <ac:spMk id="6" creationId="{CF46E702-8CBC-43AB-AA63-0E7ADD3489FB}"/>
          </ac:spMkLst>
        </pc:spChg>
        <pc:spChg chg="mod">
          <ac:chgData name="Frederick King" userId="bb732f183fe92d5e" providerId="LiveId" clId="{E2DCD61D-DC7A-4FDD-B312-815DCBE91D61}" dt="2021-01-14T11:05:18.637" v="8532" actId="165"/>
          <ac:spMkLst>
            <pc:docMk/>
            <pc:sldMk cId="2292278634" sldId="285"/>
            <ac:spMk id="13" creationId="{6149B15B-3499-4277-AC4D-101AFDEE8413}"/>
          </ac:spMkLst>
        </pc:spChg>
        <pc:spChg chg="mod">
          <ac:chgData name="Frederick King" userId="bb732f183fe92d5e" providerId="LiveId" clId="{E2DCD61D-DC7A-4FDD-B312-815DCBE91D61}" dt="2021-01-14T11:05:18.637" v="8532" actId="165"/>
          <ac:spMkLst>
            <pc:docMk/>
            <pc:sldMk cId="2292278634" sldId="285"/>
            <ac:spMk id="14" creationId="{F92632D8-0A0C-4E9A-B412-2B5F2A29D7EA}"/>
          </ac:spMkLst>
        </pc:spChg>
        <pc:spChg chg="mod">
          <ac:chgData name="Frederick King" userId="bb732f183fe92d5e" providerId="LiveId" clId="{E2DCD61D-DC7A-4FDD-B312-815DCBE91D61}" dt="2021-01-14T11:05:18.637" v="8532" actId="165"/>
          <ac:spMkLst>
            <pc:docMk/>
            <pc:sldMk cId="2292278634" sldId="285"/>
            <ac:spMk id="15" creationId="{B3517859-C802-4AE7-8462-95025B2AC458}"/>
          </ac:spMkLst>
        </pc:spChg>
        <pc:spChg chg="mod">
          <ac:chgData name="Frederick King" userId="bb732f183fe92d5e" providerId="LiveId" clId="{E2DCD61D-DC7A-4FDD-B312-815DCBE91D61}" dt="2021-01-14T11:05:18.637" v="8532" actId="165"/>
          <ac:spMkLst>
            <pc:docMk/>
            <pc:sldMk cId="2292278634" sldId="285"/>
            <ac:spMk id="16" creationId="{5183802D-E9ED-4B08-9B06-91A42A6CF9F3}"/>
          </ac:spMkLst>
        </pc:spChg>
        <pc:spChg chg="mod">
          <ac:chgData name="Frederick King" userId="bb732f183fe92d5e" providerId="LiveId" clId="{E2DCD61D-DC7A-4FDD-B312-815DCBE91D61}" dt="2021-01-14T11:05:18.637" v="8532" actId="165"/>
          <ac:spMkLst>
            <pc:docMk/>
            <pc:sldMk cId="2292278634" sldId="285"/>
            <ac:spMk id="17" creationId="{F1CB76F9-BDFA-43E7-817F-C6FE1C3C7305}"/>
          </ac:spMkLst>
        </pc:spChg>
        <pc:spChg chg="mod">
          <ac:chgData name="Frederick King" userId="bb732f183fe92d5e" providerId="LiveId" clId="{E2DCD61D-DC7A-4FDD-B312-815DCBE91D61}" dt="2021-01-14T11:05:18.637" v="8532" actId="165"/>
          <ac:spMkLst>
            <pc:docMk/>
            <pc:sldMk cId="2292278634" sldId="285"/>
            <ac:spMk id="18" creationId="{04F6D685-970E-47B8-9972-7140EC350C5D}"/>
          </ac:spMkLst>
        </pc:spChg>
        <pc:spChg chg="add mod">
          <ac:chgData name="Frederick King" userId="bb732f183fe92d5e" providerId="LiveId" clId="{E2DCD61D-DC7A-4FDD-B312-815DCBE91D61}" dt="2021-01-14T11:05:28.779" v="8538" actId="164"/>
          <ac:spMkLst>
            <pc:docMk/>
            <pc:sldMk cId="2292278634" sldId="285"/>
            <ac:spMk id="19" creationId="{03987D05-0270-4C0B-82C2-F9E1561130CB}"/>
          </ac:spMkLst>
        </pc:spChg>
        <pc:spChg chg="add mod">
          <ac:chgData name="Frederick King" userId="bb732f183fe92d5e" providerId="LiveId" clId="{E2DCD61D-DC7A-4FDD-B312-815DCBE91D61}" dt="2021-01-14T11:15:41.398" v="8678" actId="20577"/>
          <ac:spMkLst>
            <pc:docMk/>
            <pc:sldMk cId="2292278634" sldId="285"/>
            <ac:spMk id="24" creationId="{82442119-2ACE-4FAB-9C9D-099D46C10FE7}"/>
          </ac:spMkLst>
        </pc:spChg>
        <pc:grpChg chg="add del mod">
          <ac:chgData name="Frederick King" userId="bb732f183fe92d5e" providerId="LiveId" clId="{E2DCD61D-DC7A-4FDD-B312-815DCBE91D61}" dt="2021-01-14T11:05:18.637" v="8532" actId="165"/>
          <ac:grpSpMkLst>
            <pc:docMk/>
            <pc:sldMk cId="2292278634" sldId="285"/>
            <ac:grpSpMk id="7" creationId="{302BAE0B-5EC3-42D0-BC34-00B16D6740A7}"/>
          </ac:grpSpMkLst>
        </pc:grpChg>
        <pc:grpChg chg="mod topLvl">
          <ac:chgData name="Frederick King" userId="bb732f183fe92d5e" providerId="LiveId" clId="{E2DCD61D-DC7A-4FDD-B312-815DCBE91D61}" dt="2021-01-14T11:05:36.652" v="8540" actId="164"/>
          <ac:grpSpMkLst>
            <pc:docMk/>
            <pc:sldMk cId="2292278634" sldId="285"/>
            <ac:grpSpMk id="10" creationId="{2361F8DB-F7C8-4FF6-A8BE-6AFD5B89018A}"/>
          </ac:grpSpMkLst>
        </pc:grpChg>
        <pc:grpChg chg="mod topLvl">
          <ac:chgData name="Frederick King" userId="bb732f183fe92d5e" providerId="LiveId" clId="{E2DCD61D-DC7A-4FDD-B312-815DCBE91D61}" dt="2021-01-14T11:05:36.652" v="8540" actId="164"/>
          <ac:grpSpMkLst>
            <pc:docMk/>
            <pc:sldMk cId="2292278634" sldId="285"/>
            <ac:grpSpMk id="11" creationId="{6FA91408-4265-4C28-968A-59E0492E6A13}"/>
          </ac:grpSpMkLst>
        </pc:grpChg>
        <pc:grpChg chg="mod topLvl">
          <ac:chgData name="Frederick King" userId="bb732f183fe92d5e" providerId="LiveId" clId="{E2DCD61D-DC7A-4FDD-B312-815DCBE91D61}" dt="2021-01-14T11:05:36.652" v="8540" actId="164"/>
          <ac:grpSpMkLst>
            <pc:docMk/>
            <pc:sldMk cId="2292278634" sldId="285"/>
            <ac:grpSpMk id="12" creationId="{B58A16A6-315E-4C95-8D0C-6E72453B7449}"/>
          </ac:grpSpMkLst>
        </pc:grpChg>
        <pc:grpChg chg="add mod">
          <ac:chgData name="Frederick King" userId="bb732f183fe92d5e" providerId="LiveId" clId="{E2DCD61D-DC7A-4FDD-B312-815DCBE91D61}" dt="2021-01-14T11:05:36.652" v="8540" actId="164"/>
          <ac:grpSpMkLst>
            <pc:docMk/>
            <pc:sldMk cId="2292278634" sldId="285"/>
            <ac:grpSpMk id="21" creationId="{463C6D32-F9EB-4033-8647-611EC8BEA571}"/>
          </ac:grpSpMkLst>
        </pc:grpChg>
        <pc:grpChg chg="add mod">
          <ac:chgData name="Frederick King" userId="bb732f183fe92d5e" providerId="LiveId" clId="{E2DCD61D-DC7A-4FDD-B312-815DCBE91D61}" dt="2021-01-14T11:05:37.856" v="8541" actId="12788"/>
          <ac:grpSpMkLst>
            <pc:docMk/>
            <pc:sldMk cId="2292278634" sldId="285"/>
            <ac:grpSpMk id="22" creationId="{90071036-F3DE-4E52-B23E-1036F88EA9E1}"/>
          </ac:grpSpMkLst>
        </pc:grpChg>
        <pc:graphicFrameChg chg="add mod ord modVis">
          <ac:chgData name="Frederick King" userId="bb732f183fe92d5e" providerId="LiveId" clId="{E2DCD61D-DC7A-4FDD-B312-815DCBE91D61}" dt="2021-01-14T11:04:23.605" v="8486"/>
          <ac:graphicFrameMkLst>
            <pc:docMk/>
            <pc:sldMk cId="2292278634" sldId="285"/>
            <ac:graphicFrameMk id="5" creationId="{5F987C95-A4ED-4F72-B551-C73C14F50343}"/>
          </ac:graphicFrameMkLst>
        </pc:graphicFrameChg>
        <pc:cxnChg chg="mod topLvl">
          <ac:chgData name="Frederick King" userId="bb732f183fe92d5e" providerId="LiveId" clId="{E2DCD61D-DC7A-4FDD-B312-815DCBE91D61}" dt="2021-01-14T11:05:36.652" v="8540" actId="164"/>
          <ac:cxnSpMkLst>
            <pc:docMk/>
            <pc:sldMk cId="2292278634" sldId="285"/>
            <ac:cxnSpMk id="8" creationId="{BBE91C8D-C016-4027-A56A-6287023E23DB}"/>
          </ac:cxnSpMkLst>
        </pc:cxnChg>
        <pc:cxnChg chg="mod topLvl">
          <ac:chgData name="Frederick King" userId="bb732f183fe92d5e" providerId="LiveId" clId="{E2DCD61D-DC7A-4FDD-B312-815DCBE91D61}" dt="2021-01-14T11:05:36.652" v="8540" actId="164"/>
          <ac:cxnSpMkLst>
            <pc:docMk/>
            <pc:sldMk cId="2292278634" sldId="285"/>
            <ac:cxnSpMk id="9" creationId="{27D7B754-8F86-4E60-AD69-4CFF1DB24711}"/>
          </ac:cxnSpMkLst>
        </pc:cxnChg>
        <pc:cxnChg chg="add mod">
          <ac:chgData name="Frederick King" userId="bb732f183fe92d5e" providerId="LiveId" clId="{E2DCD61D-DC7A-4FDD-B312-815DCBE91D61}" dt="2021-01-14T11:05:28.779" v="8538" actId="164"/>
          <ac:cxnSpMkLst>
            <pc:docMk/>
            <pc:sldMk cId="2292278634" sldId="285"/>
            <ac:cxnSpMk id="20" creationId="{475A11A2-49FF-4E04-B7E0-E59E41D96EAB}"/>
          </ac:cxnSpMkLst>
        </pc:cxnChg>
        <pc:cxnChg chg="add del mod">
          <ac:chgData name="Frederick King" userId="bb732f183fe92d5e" providerId="LiveId" clId="{E2DCD61D-DC7A-4FDD-B312-815DCBE91D61}" dt="2021-01-14T11:15:18.889" v="8546"/>
          <ac:cxnSpMkLst>
            <pc:docMk/>
            <pc:sldMk cId="2292278634" sldId="285"/>
            <ac:cxnSpMk id="23" creationId="{9901ECDF-0475-4113-861F-C7CCA617FDDA}"/>
          </ac:cxnSpMkLst>
        </pc:cxnChg>
      </pc:sldChg>
      <pc:sldChg chg="addSp delSp modSp new add mod">
        <pc:chgData name="Frederick King" userId="bb732f183fe92d5e" providerId="LiveId" clId="{E2DCD61D-DC7A-4FDD-B312-815DCBE91D61}" dt="2021-01-14T13:55:21.229" v="8847" actId="20577"/>
        <pc:sldMkLst>
          <pc:docMk/>
          <pc:sldMk cId="61405604" sldId="286"/>
        </pc:sldMkLst>
        <pc:spChg chg="mod">
          <ac:chgData name="Frederick King" userId="bb732f183fe92d5e" providerId="LiveId" clId="{E2DCD61D-DC7A-4FDD-B312-815DCBE91D61}" dt="2021-01-14T13:49:51.236" v="8800" actId="948"/>
          <ac:spMkLst>
            <pc:docMk/>
            <pc:sldMk cId="61405604" sldId="286"/>
            <ac:spMk id="2" creationId="{4EDD9BB2-6456-4A59-B05A-928CE78EF279}"/>
          </ac:spMkLst>
        </pc:spChg>
        <pc:spChg chg="del">
          <ac:chgData name="Frederick King" userId="bb732f183fe92d5e" providerId="LiveId" clId="{E2DCD61D-DC7A-4FDD-B312-815DCBE91D61}" dt="2021-01-14T13:47:26.820" v="8720" actId="478"/>
          <ac:spMkLst>
            <pc:docMk/>
            <pc:sldMk cId="61405604" sldId="286"/>
            <ac:spMk id="3" creationId="{B167C533-67F2-4707-A891-F33A553227C2}"/>
          </ac:spMkLst>
        </pc:spChg>
        <pc:spChg chg="add mod topLvl">
          <ac:chgData name="Frederick King" userId="bb732f183fe92d5e" providerId="LiveId" clId="{E2DCD61D-DC7A-4FDD-B312-815DCBE91D61}" dt="2021-01-14T13:48:34.181" v="8748" actId="20577"/>
          <ac:spMkLst>
            <pc:docMk/>
            <pc:sldMk cId="61405604" sldId="286"/>
            <ac:spMk id="5" creationId="{BC6175E2-2F91-49C6-B372-A27AA4E27DFA}"/>
          </ac:spMkLst>
        </pc:spChg>
        <pc:spChg chg="add mod topLvl">
          <ac:chgData name="Frederick King" userId="bb732f183fe92d5e" providerId="LiveId" clId="{E2DCD61D-DC7A-4FDD-B312-815DCBE91D61}" dt="2021-01-14T13:48:25.392" v="8733" actId="403"/>
          <ac:spMkLst>
            <pc:docMk/>
            <pc:sldMk cId="61405604" sldId="286"/>
            <ac:spMk id="6" creationId="{BCD77FC3-1A09-459D-B2AD-890CEE6E3349}"/>
          </ac:spMkLst>
        </pc:spChg>
        <pc:spChg chg="add mod topLvl">
          <ac:chgData name="Frederick King" userId="bb732f183fe92d5e" providerId="LiveId" clId="{E2DCD61D-DC7A-4FDD-B312-815DCBE91D61}" dt="2021-01-14T13:47:47.768" v="8725" actId="165"/>
          <ac:spMkLst>
            <pc:docMk/>
            <pc:sldMk cId="61405604" sldId="286"/>
            <ac:spMk id="7" creationId="{0795C69C-FE4A-463E-AE4E-37AE1DC01759}"/>
          </ac:spMkLst>
        </pc:spChg>
        <pc:spChg chg="add mod topLvl">
          <ac:chgData name="Frederick King" userId="bb732f183fe92d5e" providerId="LiveId" clId="{E2DCD61D-DC7A-4FDD-B312-815DCBE91D61}" dt="2021-01-14T13:55:21.229" v="8847" actId="20577"/>
          <ac:spMkLst>
            <pc:docMk/>
            <pc:sldMk cId="61405604" sldId="286"/>
            <ac:spMk id="8" creationId="{2A0818E3-F29A-4B88-A536-EFBDC5BA460B}"/>
          </ac:spMkLst>
        </pc:spChg>
        <pc:spChg chg="add mod topLvl">
          <ac:chgData name="Frederick King" userId="bb732f183fe92d5e" providerId="LiveId" clId="{E2DCD61D-DC7A-4FDD-B312-815DCBE91D61}" dt="2021-01-14T13:47:55.297" v="8726" actId="403"/>
          <ac:spMkLst>
            <pc:docMk/>
            <pc:sldMk cId="61405604" sldId="286"/>
            <ac:spMk id="9" creationId="{FBFF7BBD-E5E2-4A63-A6B1-AB6CCB651167}"/>
          </ac:spMkLst>
        </pc:spChg>
        <pc:spChg chg="add mod topLvl">
          <ac:chgData name="Frederick King" userId="bb732f183fe92d5e" providerId="LiveId" clId="{E2DCD61D-DC7A-4FDD-B312-815DCBE91D61}" dt="2021-01-14T13:48:22.727" v="8732" actId="208"/>
          <ac:spMkLst>
            <pc:docMk/>
            <pc:sldMk cId="61405604" sldId="286"/>
            <ac:spMk id="10" creationId="{E97E98F6-3CDD-451B-9DB7-42BD1DEB5865}"/>
          </ac:spMkLst>
        </pc:spChg>
        <pc:spChg chg="add mod topLvl">
          <ac:chgData name="Frederick King" userId="bb732f183fe92d5e" providerId="LiveId" clId="{E2DCD61D-DC7A-4FDD-B312-815DCBE91D61}" dt="2021-01-14T13:47:55.297" v="8726" actId="403"/>
          <ac:spMkLst>
            <pc:docMk/>
            <pc:sldMk cId="61405604" sldId="286"/>
            <ac:spMk id="11" creationId="{96E24C05-E909-4715-914C-01F5F72ABC12}"/>
          </ac:spMkLst>
        </pc:spChg>
        <pc:spChg chg="add mod topLvl">
          <ac:chgData name="Frederick King" userId="bb732f183fe92d5e" providerId="LiveId" clId="{E2DCD61D-DC7A-4FDD-B312-815DCBE91D61}" dt="2021-01-14T13:48:22.727" v="8732" actId="208"/>
          <ac:spMkLst>
            <pc:docMk/>
            <pc:sldMk cId="61405604" sldId="286"/>
            <ac:spMk id="12" creationId="{E70EC451-61E3-4E2F-BB9A-F60FC1A4110E}"/>
          </ac:spMkLst>
        </pc:spChg>
        <pc:spChg chg="add mod topLvl">
          <ac:chgData name="Frederick King" userId="bb732f183fe92d5e" providerId="LiveId" clId="{E2DCD61D-DC7A-4FDD-B312-815DCBE91D61}" dt="2021-01-14T13:47:55.297" v="8726" actId="403"/>
          <ac:spMkLst>
            <pc:docMk/>
            <pc:sldMk cId="61405604" sldId="286"/>
            <ac:spMk id="13" creationId="{D2030545-F5A7-4075-84FC-52988A3DF5CF}"/>
          </ac:spMkLst>
        </pc:spChg>
        <pc:spChg chg="add mod topLvl">
          <ac:chgData name="Frederick King" userId="bb732f183fe92d5e" providerId="LiveId" clId="{E2DCD61D-DC7A-4FDD-B312-815DCBE91D61}" dt="2021-01-14T13:48:22.727" v="8732" actId="208"/>
          <ac:spMkLst>
            <pc:docMk/>
            <pc:sldMk cId="61405604" sldId="286"/>
            <ac:spMk id="14" creationId="{8F16061B-63DF-4B48-A23A-161FD4A3BDD6}"/>
          </ac:spMkLst>
        </pc:spChg>
        <pc:spChg chg="add mod topLvl">
          <ac:chgData name="Frederick King" userId="bb732f183fe92d5e" providerId="LiveId" clId="{E2DCD61D-DC7A-4FDD-B312-815DCBE91D61}" dt="2021-01-14T13:47:55.297" v="8726" actId="403"/>
          <ac:spMkLst>
            <pc:docMk/>
            <pc:sldMk cId="61405604" sldId="286"/>
            <ac:spMk id="15" creationId="{A97D3CFC-E436-49BE-AFCF-8EA0AB34A505}"/>
          </ac:spMkLst>
        </pc:spChg>
        <pc:spChg chg="add mod">
          <ac:chgData name="Frederick King" userId="bb732f183fe92d5e" providerId="LiveId" clId="{E2DCD61D-DC7A-4FDD-B312-815DCBE91D61}" dt="2021-01-14T13:48:05.044" v="8728"/>
          <ac:spMkLst>
            <pc:docMk/>
            <pc:sldMk cId="61405604" sldId="286"/>
            <ac:spMk id="17" creationId="{E5F32CF3-8525-462B-87BD-F6D18AE7B6F5}"/>
          </ac:spMkLst>
        </pc:spChg>
        <pc:spChg chg="add del mod modVis">
          <ac:chgData name="Frederick King" userId="bb732f183fe92d5e" providerId="LiveId" clId="{E2DCD61D-DC7A-4FDD-B312-815DCBE91D61}" dt="2021-01-14T13:49:48.520" v="8787"/>
          <ac:spMkLst>
            <pc:docMk/>
            <pc:sldMk cId="61405604" sldId="286"/>
            <ac:spMk id="18" creationId="{0C54138B-30DC-4160-891E-9741FB31119A}"/>
          </ac:spMkLst>
        </pc:spChg>
        <pc:spChg chg="add del mod modVis">
          <ac:chgData name="Frederick King" userId="bb732f183fe92d5e" providerId="LiveId" clId="{E2DCD61D-DC7A-4FDD-B312-815DCBE91D61}" dt="2021-01-14T13:49:51.267" v="8837"/>
          <ac:spMkLst>
            <pc:docMk/>
            <pc:sldMk cId="61405604" sldId="286"/>
            <ac:spMk id="19" creationId="{41F8CD1A-5A7A-4833-B4C3-12C066E3AC9C}"/>
          </ac:spMkLst>
        </pc:spChg>
        <pc:grpChg chg="add del mod">
          <ac:chgData name="Frederick King" userId="bb732f183fe92d5e" providerId="LiveId" clId="{E2DCD61D-DC7A-4FDD-B312-815DCBE91D61}" dt="2021-01-14T13:47:47.768" v="8725" actId="165"/>
          <ac:grpSpMkLst>
            <pc:docMk/>
            <pc:sldMk cId="61405604" sldId="286"/>
            <ac:grpSpMk id="16" creationId="{420A4872-56E8-4D1B-8751-444C13C01502}"/>
          </ac:grpSpMkLst>
        </pc:grpChg>
        <pc:graphicFrameChg chg="add mod ord modVis">
          <ac:chgData name="Frederick King" userId="bb732f183fe92d5e" providerId="LiveId" clId="{E2DCD61D-DC7A-4FDD-B312-815DCBE91D61}" dt="2021-01-14T13:49:51.283" v="8839"/>
          <ac:graphicFrameMkLst>
            <pc:docMk/>
            <pc:sldMk cId="61405604" sldId="286"/>
            <ac:graphicFrameMk id="4" creationId="{FF06BB48-B0E5-41AF-B5B7-C7A2F69B0F35}"/>
          </ac:graphicFrameMkLst>
        </pc:graphicFrameChg>
      </pc:sldChg>
      <pc:sldMasterChg chg="addSp delSp modSp mod setBg modSldLayout">
        <pc:chgData name="Frederick King" userId="bb732f183fe92d5e" providerId="LiveId" clId="{E2DCD61D-DC7A-4FDD-B312-815DCBE91D61}" dt="2021-01-11T13:18:09.081" v="494"/>
        <pc:sldMasterMkLst>
          <pc:docMk/>
          <pc:sldMasterMk cId="1747802691" sldId="2147483648"/>
        </pc:sldMasterMkLst>
        <pc:spChg chg="mod">
          <ac:chgData name="Frederick King" userId="bb732f183fe92d5e" providerId="LiveId" clId="{E2DCD61D-DC7A-4FDD-B312-815DCBE91D61}" dt="2021-01-11T13:18:09.025" v="455" actId="948"/>
          <ac:spMkLst>
            <pc:docMk/>
            <pc:sldMasterMk cId="1747802691" sldId="2147483648"/>
            <ac:spMk id="2" creationId="{DAB6952E-20AB-4658-930A-D38743655C13}"/>
          </ac:spMkLst>
        </pc:spChg>
        <pc:spChg chg="add del mod modVis">
          <ac:chgData name="Frederick King" userId="bb732f183fe92d5e" providerId="LiveId" clId="{E2DCD61D-DC7A-4FDD-B312-815DCBE91D61}" dt="2021-01-11T13:17:32.856" v="327" actId="948"/>
          <ac:spMkLst>
            <pc:docMk/>
            <pc:sldMasterMk cId="1747802691" sldId="2147483648"/>
            <ac:spMk id="4" creationId="{0013D972-DC12-43D4-9B32-2DD438824991}"/>
          </ac:spMkLst>
        </pc:spChg>
        <pc:spChg chg="add del mod modVis">
          <ac:chgData name="Frederick King" userId="bb732f183fe92d5e" providerId="LiveId" clId="{E2DCD61D-DC7A-4FDD-B312-815DCBE91D61}" dt="2021-01-11T13:17:53.257" v="406" actId="948"/>
          <ac:spMkLst>
            <pc:docMk/>
            <pc:sldMasterMk cId="1747802691" sldId="2147483648"/>
            <ac:spMk id="5" creationId="{FE827F00-83E6-49E0-ADDF-ED13263EFFFB}"/>
          </ac:spMkLst>
        </pc:spChg>
        <pc:spChg chg="add del mod modVis">
          <ac:chgData name="Frederick King" userId="bb732f183fe92d5e" providerId="LiveId" clId="{E2DCD61D-DC7A-4FDD-B312-815DCBE91D61}" dt="2021-01-11T13:18:05.690" v="449"/>
          <ac:spMkLst>
            <pc:docMk/>
            <pc:sldMasterMk cId="1747802691" sldId="2147483648"/>
            <ac:spMk id="6" creationId="{A53F3518-B231-43EB-9DE2-D996B379A92C}"/>
          </ac:spMkLst>
        </pc:spChg>
        <pc:spChg chg="add del mod modVis">
          <ac:chgData name="Frederick King" userId="bb732f183fe92d5e" providerId="LiveId" clId="{E2DCD61D-DC7A-4FDD-B312-815DCBE91D61}" dt="2021-01-11T13:18:09.081" v="492"/>
          <ac:spMkLst>
            <pc:docMk/>
            <pc:sldMasterMk cId="1747802691" sldId="2147483648"/>
            <ac:spMk id="7" creationId="{4C157075-EF15-41B4-BACB-797D18FEA56E}"/>
          </ac:spMkLst>
        </pc:spChg>
        <pc:graphicFrameChg chg="mod">
          <ac:chgData name="Frederick King" userId="bb732f183fe92d5e" providerId="LiveId" clId="{E2DCD61D-DC7A-4FDD-B312-815DCBE91D61}" dt="2021-01-11T13:18:09.081" v="494"/>
          <ac:graphicFrameMkLst>
            <pc:docMk/>
            <pc:sldMasterMk cId="1747802691" sldId="2147483648"/>
            <ac:graphicFrameMk id="8" creationId="{89C170C1-3A67-43AD-A913-8D4F4AE9AE1D}"/>
          </ac:graphicFrameMkLst>
        </pc:graphicFrameChg>
        <pc:sldLayoutChg chg="setBg">
          <pc:chgData name="Frederick King" userId="bb732f183fe92d5e" providerId="LiveId" clId="{E2DCD61D-DC7A-4FDD-B312-815DCBE91D61}" dt="2021-01-11T13:12:15.753" v="1"/>
          <pc:sldLayoutMkLst>
            <pc:docMk/>
            <pc:sldMasterMk cId="1747802691" sldId="2147483648"/>
            <pc:sldLayoutMk cId="2435327116" sldId="2147483649"/>
          </pc:sldLayoutMkLst>
        </pc:sldLayoutChg>
      </pc:sldMasterChg>
    </pc:docChg>
  </pc:docChgLst>
  <pc:docChgLst>
    <pc:chgData name="Frederick King" userId="bb732f183fe92d5e" providerId="LiveId" clId="{753283EB-EBC0-413C-B840-BF1DF8182372}"/>
    <pc:docChg chg="undo redo custSel addSld delSld modSld sldOrd modMainMaster">
      <pc:chgData name="Frederick King" userId="bb732f183fe92d5e" providerId="LiveId" clId="{753283EB-EBC0-413C-B840-BF1DF8182372}" dt="2021-04-21T13:56:38.071" v="21606" actId="14100"/>
      <pc:docMkLst>
        <pc:docMk/>
      </pc:docMkLst>
      <pc:sldChg chg="addSp delSp modSp mod ord">
        <pc:chgData name="Frederick King" userId="bb732f183fe92d5e" providerId="LiveId" clId="{753283EB-EBC0-413C-B840-BF1DF8182372}" dt="2021-04-20T09:12:56.673" v="21265" actId="313"/>
        <pc:sldMkLst>
          <pc:docMk/>
          <pc:sldMk cId="2443630531" sldId="274"/>
        </pc:sldMkLst>
        <pc:spChg chg="mod">
          <ac:chgData name="Frederick King" userId="bb732f183fe92d5e" providerId="LiveId" clId="{753283EB-EBC0-413C-B840-BF1DF8182372}" dt="2021-04-01T11:23:44.184" v="20828" actId="20577"/>
          <ac:spMkLst>
            <pc:docMk/>
            <pc:sldMk cId="2443630531" sldId="274"/>
            <ac:spMk id="2" creationId="{88395490-5244-46CE-8656-58BB910011B6}"/>
          </ac:spMkLst>
        </pc:spChg>
        <pc:spChg chg="del mod">
          <ac:chgData name="Frederick King" userId="bb732f183fe92d5e" providerId="LiveId" clId="{753283EB-EBC0-413C-B840-BF1DF8182372}" dt="2021-03-29T17:03:42.129" v="3601" actId="478"/>
          <ac:spMkLst>
            <pc:docMk/>
            <pc:sldMk cId="2443630531" sldId="274"/>
            <ac:spMk id="4" creationId="{D3673574-F330-47E9-883D-2649864648AE}"/>
          </ac:spMkLst>
        </pc:spChg>
        <pc:spChg chg="add mod">
          <ac:chgData name="Frederick King" userId="bb732f183fe92d5e" providerId="LiveId" clId="{753283EB-EBC0-413C-B840-BF1DF8182372}" dt="2021-03-30T08:23:29.940" v="3738"/>
          <ac:spMkLst>
            <pc:docMk/>
            <pc:sldMk cId="2443630531" sldId="274"/>
            <ac:spMk id="8" creationId="{29CCD52F-EA7C-440D-B54B-C821A7D20DD0}"/>
          </ac:spMkLst>
        </pc:spChg>
        <pc:spChg chg="add del mod">
          <ac:chgData name="Frederick King" userId="bb732f183fe92d5e" providerId="LiveId" clId="{753283EB-EBC0-413C-B840-BF1DF8182372}" dt="2021-03-29T13:50:23.421" v="963" actId="478"/>
          <ac:spMkLst>
            <pc:docMk/>
            <pc:sldMk cId="2443630531" sldId="274"/>
            <ac:spMk id="8" creationId="{A86C64D9-6ADC-41AE-A988-A7D14F39C136}"/>
          </ac:spMkLst>
        </pc:spChg>
        <pc:spChg chg="add del mod">
          <ac:chgData name="Frederick King" userId="bb732f183fe92d5e" providerId="LiveId" clId="{753283EB-EBC0-413C-B840-BF1DF8182372}" dt="2021-03-29T13:48:29.751" v="927"/>
          <ac:spMkLst>
            <pc:docMk/>
            <pc:sldMk cId="2443630531" sldId="274"/>
            <ac:spMk id="10" creationId="{087D58A2-7EB2-4CEF-B0EE-E61E96EAF554}"/>
          </ac:spMkLst>
        </pc:spChg>
        <pc:spChg chg="add del mod">
          <ac:chgData name="Frederick King" userId="bb732f183fe92d5e" providerId="LiveId" clId="{753283EB-EBC0-413C-B840-BF1DF8182372}" dt="2021-03-30T14:18:12.767" v="17212" actId="478"/>
          <ac:spMkLst>
            <pc:docMk/>
            <pc:sldMk cId="2443630531" sldId="274"/>
            <ac:spMk id="10" creationId="{318442F4-93F1-49FE-A15F-FC50CE5B1CC0}"/>
          </ac:spMkLst>
        </pc:spChg>
        <pc:spChg chg="add del mod">
          <ac:chgData name="Frederick King" userId="bb732f183fe92d5e" providerId="LiveId" clId="{753283EB-EBC0-413C-B840-BF1DF8182372}" dt="2021-03-30T13:25:00.948" v="17017" actId="478"/>
          <ac:spMkLst>
            <pc:docMk/>
            <pc:sldMk cId="2443630531" sldId="274"/>
            <ac:spMk id="11" creationId="{01CB270D-1528-4043-8B7D-674BC0A02B70}"/>
          </ac:spMkLst>
        </pc:spChg>
        <pc:spChg chg="add mod">
          <ac:chgData name="Frederick King" userId="bb732f183fe92d5e" providerId="LiveId" clId="{753283EB-EBC0-413C-B840-BF1DF8182372}" dt="2021-04-20T09:12:49.081" v="21263" actId="313"/>
          <ac:spMkLst>
            <pc:docMk/>
            <pc:sldMk cId="2443630531" sldId="274"/>
            <ac:spMk id="12" creationId="{2C4459AE-DBBE-408D-B846-FC1BB663C6CD}"/>
          </ac:spMkLst>
        </pc:spChg>
        <pc:spChg chg="del">
          <ac:chgData name="Frederick King" userId="bb732f183fe92d5e" providerId="LiveId" clId="{753283EB-EBC0-413C-B840-BF1DF8182372}" dt="2021-03-30T08:23:29.616" v="3737" actId="478"/>
          <ac:spMkLst>
            <pc:docMk/>
            <pc:sldMk cId="2443630531" sldId="274"/>
            <ac:spMk id="13" creationId="{3D57B746-85AD-4E4B-849B-61D812283D8A}"/>
          </ac:spMkLst>
        </pc:spChg>
        <pc:graphicFrameChg chg="del modGraphic">
          <ac:chgData name="Frederick King" userId="bb732f183fe92d5e" providerId="LiveId" clId="{753283EB-EBC0-413C-B840-BF1DF8182372}" dt="2021-04-01T10:57:40.840" v="19162" actId="478"/>
          <ac:graphicFrameMkLst>
            <pc:docMk/>
            <pc:sldMk cId="2443630531" sldId="274"/>
            <ac:graphicFrameMk id="9" creationId="{3F0CBEE6-308C-48B4-AD3F-0546A56450BC}"/>
          </ac:graphicFrameMkLst>
        </pc:graphicFrameChg>
        <pc:graphicFrameChg chg="add mod modGraphic">
          <ac:chgData name="Frederick King" userId="bb732f183fe92d5e" providerId="LiveId" clId="{753283EB-EBC0-413C-B840-BF1DF8182372}" dt="2021-04-20T09:12:56.673" v="21265" actId="313"/>
          <ac:graphicFrameMkLst>
            <pc:docMk/>
            <pc:sldMk cId="2443630531" sldId="274"/>
            <ac:graphicFrameMk id="10" creationId="{30BD7477-C187-4A85-B3B6-B8FD799B6CAF}"/>
          </ac:graphicFrameMkLst>
        </pc:graphicFrameChg>
      </pc:sldChg>
      <pc:sldChg chg="addSp delSp modSp mod">
        <pc:chgData name="Frederick King" userId="bb732f183fe92d5e" providerId="LiveId" clId="{753283EB-EBC0-413C-B840-BF1DF8182372}" dt="2021-04-20T09:12:59.628" v="21266" actId="313"/>
        <pc:sldMkLst>
          <pc:docMk/>
          <pc:sldMk cId="2217190525" sldId="275"/>
        </pc:sldMkLst>
        <pc:spChg chg="mod">
          <ac:chgData name="Frederick King" userId="bb732f183fe92d5e" providerId="LiveId" clId="{753283EB-EBC0-413C-B840-BF1DF8182372}" dt="2021-03-30T08:23:18.840" v="3734" actId="1035"/>
          <ac:spMkLst>
            <pc:docMk/>
            <pc:sldMk cId="2217190525" sldId="275"/>
            <ac:spMk id="6" creationId="{38A4AFEE-8BAF-4829-928F-30186C1D56C9}"/>
          </ac:spMkLst>
        </pc:spChg>
        <pc:spChg chg="add del mod">
          <ac:chgData name="Frederick King" userId="bb732f183fe92d5e" providerId="LiveId" clId="{753283EB-EBC0-413C-B840-BF1DF8182372}" dt="2021-03-29T13:50:30.795" v="967" actId="478"/>
          <ac:spMkLst>
            <pc:docMk/>
            <pc:sldMk cId="2217190525" sldId="275"/>
            <ac:spMk id="7" creationId="{8310E83F-682B-45E0-916D-317E980FE009}"/>
          </ac:spMkLst>
        </pc:spChg>
        <pc:spChg chg="add del mod">
          <ac:chgData name="Frederick King" userId="bb732f183fe92d5e" providerId="LiveId" clId="{753283EB-EBC0-413C-B840-BF1DF8182372}" dt="2021-03-30T14:18:08.847" v="17210" actId="478"/>
          <ac:spMkLst>
            <pc:docMk/>
            <pc:sldMk cId="2217190525" sldId="275"/>
            <ac:spMk id="7" creationId="{CCEA88C7-6F9B-4B90-BEF7-78BE98849D6A}"/>
          </ac:spMkLst>
        </pc:spChg>
        <pc:spChg chg="add del mod">
          <ac:chgData name="Frederick King" userId="bb732f183fe92d5e" providerId="LiveId" clId="{753283EB-EBC0-413C-B840-BF1DF8182372}" dt="2021-03-30T13:24:57.711" v="17015" actId="478"/>
          <ac:spMkLst>
            <pc:docMk/>
            <pc:sldMk cId="2217190525" sldId="275"/>
            <ac:spMk id="8" creationId="{CD61542A-68BD-4927-884F-E4F1B8085F7A}"/>
          </ac:spMkLst>
        </pc:spChg>
        <pc:spChg chg="add mod">
          <ac:chgData name="Frederick King" userId="bb732f183fe92d5e" providerId="LiveId" clId="{753283EB-EBC0-413C-B840-BF1DF8182372}" dt="2021-03-30T14:18:09.187" v="17211"/>
          <ac:spMkLst>
            <pc:docMk/>
            <pc:sldMk cId="2217190525" sldId="275"/>
            <ac:spMk id="9" creationId="{8351EFEA-81A5-48A5-8CC0-6E66DFC7BE73}"/>
          </ac:spMkLst>
        </pc:spChg>
        <pc:graphicFrameChg chg="mod modGraphic">
          <ac:chgData name="Frederick King" userId="bb732f183fe92d5e" providerId="LiveId" clId="{753283EB-EBC0-413C-B840-BF1DF8182372}" dt="2021-04-20T09:12:59.628" v="21266" actId="313"/>
          <ac:graphicFrameMkLst>
            <pc:docMk/>
            <pc:sldMk cId="2217190525" sldId="275"/>
            <ac:graphicFrameMk id="4" creationId="{2F7E9A6B-20DE-4DF5-A60B-9FDF382781D5}"/>
          </ac:graphicFrameMkLst>
        </pc:graphicFrameChg>
      </pc:sldChg>
      <pc:sldChg chg="addSp delSp modSp mod">
        <pc:chgData name="Frederick King" userId="bb732f183fe92d5e" providerId="LiveId" clId="{753283EB-EBC0-413C-B840-BF1DF8182372}" dt="2021-04-01T11:41:10.024" v="20846" actId="255"/>
        <pc:sldMkLst>
          <pc:docMk/>
          <pc:sldMk cId="2371015440" sldId="276"/>
        </pc:sldMkLst>
        <pc:spChg chg="mod">
          <ac:chgData name="Frederick King" userId="bb732f183fe92d5e" providerId="LiveId" clId="{753283EB-EBC0-413C-B840-BF1DF8182372}" dt="2021-04-01T11:41:01.378" v="20844" actId="255"/>
          <ac:spMkLst>
            <pc:docMk/>
            <pc:sldMk cId="2371015440" sldId="276"/>
            <ac:spMk id="6" creationId="{11FE4F3E-3FD3-4923-9E9F-202804721750}"/>
          </ac:spMkLst>
        </pc:spChg>
        <pc:spChg chg="mod">
          <ac:chgData name="Frederick King" userId="bb732f183fe92d5e" providerId="LiveId" clId="{753283EB-EBC0-413C-B840-BF1DF8182372}" dt="2021-04-01T11:41:04.780" v="20845" actId="404"/>
          <ac:spMkLst>
            <pc:docMk/>
            <pc:sldMk cId="2371015440" sldId="276"/>
            <ac:spMk id="9" creationId="{F0516FA3-2B86-44DD-BFE2-D25D39112F3A}"/>
          </ac:spMkLst>
        </pc:spChg>
        <pc:spChg chg="mod">
          <ac:chgData name="Frederick King" userId="bb732f183fe92d5e" providerId="LiveId" clId="{753283EB-EBC0-413C-B840-BF1DF8182372}" dt="2021-04-01T11:41:10.024" v="20846" actId="255"/>
          <ac:spMkLst>
            <pc:docMk/>
            <pc:sldMk cId="2371015440" sldId="276"/>
            <ac:spMk id="13" creationId="{D93DD20C-C0FC-4CC3-ABD4-958CCE2447EB}"/>
          </ac:spMkLst>
        </pc:spChg>
        <pc:spChg chg="mod">
          <ac:chgData name="Frederick King" userId="bb732f183fe92d5e" providerId="LiveId" clId="{753283EB-EBC0-413C-B840-BF1DF8182372}" dt="2021-03-31T09:02:45.551" v="18062" actId="20577"/>
          <ac:spMkLst>
            <pc:docMk/>
            <pc:sldMk cId="2371015440" sldId="276"/>
            <ac:spMk id="15" creationId="{0720A133-C63B-48E5-A761-622C4DA3093B}"/>
          </ac:spMkLst>
        </pc:spChg>
        <pc:spChg chg="mod">
          <ac:chgData name="Frederick King" userId="bb732f183fe92d5e" providerId="LiveId" clId="{753283EB-EBC0-413C-B840-BF1DF8182372}" dt="2021-04-01T11:41:10.024" v="20846" actId="255"/>
          <ac:spMkLst>
            <pc:docMk/>
            <pc:sldMk cId="2371015440" sldId="276"/>
            <ac:spMk id="16" creationId="{233D4221-04C9-4B94-B949-C90DAEF8AFFB}"/>
          </ac:spMkLst>
        </pc:spChg>
        <pc:spChg chg="mod">
          <ac:chgData name="Frederick King" userId="bb732f183fe92d5e" providerId="LiveId" clId="{753283EB-EBC0-413C-B840-BF1DF8182372}" dt="2021-03-31T09:02:41.879" v="18058" actId="20577"/>
          <ac:spMkLst>
            <pc:docMk/>
            <pc:sldMk cId="2371015440" sldId="276"/>
            <ac:spMk id="18" creationId="{C8358AC8-2A02-48DB-A431-C99CA3C54F17}"/>
          </ac:spMkLst>
        </pc:spChg>
        <pc:spChg chg="mod">
          <ac:chgData name="Frederick King" userId="bb732f183fe92d5e" providerId="LiveId" clId="{753283EB-EBC0-413C-B840-BF1DF8182372}" dt="2021-04-01T11:41:10.024" v="20846" actId="255"/>
          <ac:spMkLst>
            <pc:docMk/>
            <pc:sldMk cId="2371015440" sldId="276"/>
            <ac:spMk id="19" creationId="{D298B2CA-C7E5-4DBB-AECA-5C4D5A26DDD8}"/>
          </ac:spMkLst>
        </pc:spChg>
        <pc:spChg chg="add del mod">
          <ac:chgData name="Frederick King" userId="bb732f183fe92d5e" providerId="LiveId" clId="{753283EB-EBC0-413C-B840-BF1DF8182372}" dt="2021-03-29T13:50:34.311" v="969" actId="478"/>
          <ac:spMkLst>
            <pc:docMk/>
            <pc:sldMk cId="2371015440" sldId="276"/>
            <ac:spMk id="23" creationId="{601CE3DC-4C14-409E-8314-C4CDCAB98ACB}"/>
          </ac:spMkLst>
        </pc:spChg>
        <pc:spChg chg="add del mod">
          <ac:chgData name="Frederick King" userId="bb732f183fe92d5e" providerId="LiveId" clId="{753283EB-EBC0-413C-B840-BF1DF8182372}" dt="2021-03-30T13:24:54.022" v="17013" actId="478"/>
          <ac:spMkLst>
            <pc:docMk/>
            <pc:sldMk cId="2371015440" sldId="276"/>
            <ac:spMk id="24" creationId="{0D54DD7F-E51B-4BD5-AEDA-5DCDCB8CB3EF}"/>
          </ac:spMkLst>
        </pc:spChg>
        <pc:spChg chg="add mod">
          <ac:chgData name="Frederick King" userId="bb732f183fe92d5e" providerId="LiveId" clId="{753283EB-EBC0-413C-B840-BF1DF8182372}" dt="2021-03-30T08:23:25.963" v="3736"/>
          <ac:spMkLst>
            <pc:docMk/>
            <pc:sldMk cId="2371015440" sldId="276"/>
            <ac:spMk id="25" creationId="{9474EAB3-6FD7-4F46-B638-110096C7C423}"/>
          </ac:spMkLst>
        </pc:spChg>
        <pc:spChg chg="add del mod">
          <ac:chgData name="Frederick King" userId="bb732f183fe92d5e" providerId="LiveId" clId="{753283EB-EBC0-413C-B840-BF1DF8182372}" dt="2021-03-30T14:18:04.877" v="17208" actId="478"/>
          <ac:spMkLst>
            <pc:docMk/>
            <pc:sldMk cId="2371015440" sldId="276"/>
            <ac:spMk id="26" creationId="{7DB98F91-2CD8-40A9-9097-E3CBC628867E}"/>
          </ac:spMkLst>
        </pc:spChg>
        <pc:spChg chg="add mod">
          <ac:chgData name="Frederick King" userId="bb732f183fe92d5e" providerId="LiveId" clId="{753283EB-EBC0-413C-B840-BF1DF8182372}" dt="2021-03-30T14:18:05.257" v="17209"/>
          <ac:spMkLst>
            <pc:docMk/>
            <pc:sldMk cId="2371015440" sldId="276"/>
            <ac:spMk id="27" creationId="{9C440D3C-B5EC-443F-A585-CDA888535F8F}"/>
          </ac:spMkLst>
        </pc:spChg>
        <pc:spChg chg="mod">
          <ac:chgData name="Frederick King" userId="bb732f183fe92d5e" providerId="LiveId" clId="{753283EB-EBC0-413C-B840-BF1DF8182372}" dt="2021-04-01T11:41:10.024" v="20846" actId="255"/>
          <ac:spMkLst>
            <pc:docMk/>
            <pc:sldMk cId="2371015440" sldId="276"/>
            <ac:spMk id="44" creationId="{10BC52E2-8000-4CE2-9B81-7E157E773C1D}"/>
          </ac:spMkLst>
        </pc:spChg>
        <pc:spChg chg="del">
          <ac:chgData name="Frederick King" userId="bb732f183fe92d5e" providerId="LiveId" clId="{753283EB-EBC0-413C-B840-BF1DF8182372}" dt="2021-03-30T08:23:25.694" v="3735" actId="478"/>
          <ac:spMkLst>
            <pc:docMk/>
            <pc:sldMk cId="2371015440" sldId="276"/>
            <ac:spMk id="52" creationId="{2844E1C8-5BF3-44EC-831A-3A3893DD377C}"/>
          </ac:spMkLst>
        </pc:spChg>
      </pc:sldChg>
      <pc:sldChg chg="addSp delSp modSp mod">
        <pc:chgData name="Frederick King" userId="bb732f183fe92d5e" providerId="LiveId" clId="{753283EB-EBC0-413C-B840-BF1DF8182372}" dt="2021-04-01T11:41:20.385" v="20847" actId="255"/>
        <pc:sldMkLst>
          <pc:docMk/>
          <pc:sldMk cId="2147208854" sldId="277"/>
        </pc:sldMkLst>
        <pc:spChg chg="mod">
          <ac:chgData name="Frederick King" userId="bb732f183fe92d5e" providerId="LiveId" clId="{753283EB-EBC0-413C-B840-BF1DF8182372}" dt="2021-04-01T11:41:20.385" v="20847" actId="255"/>
          <ac:spMkLst>
            <pc:docMk/>
            <pc:sldMk cId="2147208854" sldId="277"/>
            <ac:spMk id="6" creationId="{11FE4F3E-3FD3-4923-9E9F-202804721750}"/>
          </ac:spMkLst>
        </pc:spChg>
        <pc:spChg chg="mod">
          <ac:chgData name="Frederick King" userId="bb732f183fe92d5e" providerId="LiveId" clId="{753283EB-EBC0-413C-B840-BF1DF8182372}" dt="2021-04-01T11:41:20.385" v="20847" actId="255"/>
          <ac:spMkLst>
            <pc:docMk/>
            <pc:sldMk cId="2147208854" sldId="277"/>
            <ac:spMk id="9" creationId="{F0516FA3-2B86-44DD-BFE2-D25D39112F3A}"/>
          </ac:spMkLst>
        </pc:spChg>
        <pc:spChg chg="mod">
          <ac:chgData name="Frederick King" userId="bb732f183fe92d5e" providerId="LiveId" clId="{753283EB-EBC0-413C-B840-BF1DF8182372}" dt="2021-04-01T11:41:20.385" v="20847" actId="255"/>
          <ac:spMkLst>
            <pc:docMk/>
            <pc:sldMk cId="2147208854" sldId="277"/>
            <ac:spMk id="13" creationId="{D93DD20C-C0FC-4CC3-ABD4-958CCE2447EB}"/>
          </ac:spMkLst>
        </pc:spChg>
        <pc:spChg chg="mod">
          <ac:chgData name="Frederick King" userId="bb732f183fe92d5e" providerId="LiveId" clId="{753283EB-EBC0-413C-B840-BF1DF8182372}" dt="2021-03-30T10:31:38.918" v="8528" actId="20577"/>
          <ac:spMkLst>
            <pc:docMk/>
            <pc:sldMk cId="2147208854" sldId="277"/>
            <ac:spMk id="15" creationId="{0720A133-C63B-48E5-A761-622C4DA3093B}"/>
          </ac:spMkLst>
        </pc:spChg>
        <pc:spChg chg="mod">
          <ac:chgData name="Frederick King" userId="bb732f183fe92d5e" providerId="LiveId" clId="{753283EB-EBC0-413C-B840-BF1DF8182372}" dt="2021-04-01T11:41:20.385" v="20847" actId="255"/>
          <ac:spMkLst>
            <pc:docMk/>
            <pc:sldMk cId="2147208854" sldId="277"/>
            <ac:spMk id="16" creationId="{233D4221-04C9-4B94-B949-C90DAEF8AFFB}"/>
          </ac:spMkLst>
        </pc:spChg>
        <pc:spChg chg="mod">
          <ac:chgData name="Frederick King" userId="bb732f183fe92d5e" providerId="LiveId" clId="{753283EB-EBC0-413C-B840-BF1DF8182372}" dt="2021-03-30T10:31:36.925" v="8526" actId="20577"/>
          <ac:spMkLst>
            <pc:docMk/>
            <pc:sldMk cId="2147208854" sldId="277"/>
            <ac:spMk id="18" creationId="{C8358AC8-2A02-48DB-A431-C99CA3C54F17}"/>
          </ac:spMkLst>
        </pc:spChg>
        <pc:spChg chg="mod">
          <ac:chgData name="Frederick King" userId="bb732f183fe92d5e" providerId="LiveId" clId="{753283EB-EBC0-413C-B840-BF1DF8182372}" dt="2021-04-01T11:41:20.385" v="20847" actId="255"/>
          <ac:spMkLst>
            <pc:docMk/>
            <pc:sldMk cId="2147208854" sldId="277"/>
            <ac:spMk id="19" creationId="{D298B2CA-C7E5-4DBB-AECA-5C4D5A26DDD8}"/>
          </ac:spMkLst>
        </pc:spChg>
        <pc:spChg chg="del">
          <ac:chgData name="Frederick King" userId="bb732f183fe92d5e" providerId="LiveId" clId="{753283EB-EBC0-413C-B840-BF1DF8182372}" dt="2021-03-30T08:23:38.911" v="3741" actId="478"/>
          <ac:spMkLst>
            <pc:docMk/>
            <pc:sldMk cId="2147208854" sldId="277"/>
            <ac:spMk id="22" creationId="{2F358CF1-627F-407A-B779-37DE92E11165}"/>
          </ac:spMkLst>
        </pc:spChg>
        <pc:spChg chg="add del mod">
          <ac:chgData name="Frederick King" userId="bb732f183fe92d5e" providerId="LiveId" clId="{753283EB-EBC0-413C-B840-BF1DF8182372}" dt="2021-03-29T13:50:38.575" v="971" actId="478"/>
          <ac:spMkLst>
            <pc:docMk/>
            <pc:sldMk cId="2147208854" sldId="277"/>
            <ac:spMk id="23" creationId="{A2A80BC4-24A2-4145-B11C-2044B8BFF823}"/>
          </ac:spMkLst>
        </pc:spChg>
        <pc:spChg chg="add del mod">
          <ac:chgData name="Frederick King" userId="bb732f183fe92d5e" providerId="LiveId" clId="{753283EB-EBC0-413C-B840-BF1DF8182372}" dt="2021-03-30T13:24:50.441" v="17011" actId="478"/>
          <ac:spMkLst>
            <pc:docMk/>
            <pc:sldMk cId="2147208854" sldId="277"/>
            <ac:spMk id="24" creationId="{0ADFFB41-991D-4C31-B3D1-56ED66653FE4}"/>
          </ac:spMkLst>
        </pc:spChg>
        <pc:spChg chg="add mod">
          <ac:chgData name="Frederick King" userId="bb732f183fe92d5e" providerId="LiveId" clId="{753283EB-EBC0-413C-B840-BF1DF8182372}" dt="2021-03-30T08:23:39.334" v="3742"/>
          <ac:spMkLst>
            <pc:docMk/>
            <pc:sldMk cId="2147208854" sldId="277"/>
            <ac:spMk id="25" creationId="{94562A1A-CF0E-4FC8-BCC3-1BE11B9A5E64}"/>
          </ac:spMkLst>
        </pc:spChg>
        <pc:spChg chg="add del mod">
          <ac:chgData name="Frederick King" userId="bb732f183fe92d5e" providerId="LiveId" clId="{753283EB-EBC0-413C-B840-BF1DF8182372}" dt="2021-03-30T14:18:01.365" v="17206" actId="478"/>
          <ac:spMkLst>
            <pc:docMk/>
            <pc:sldMk cId="2147208854" sldId="277"/>
            <ac:spMk id="26" creationId="{97918536-5740-452D-93A5-0BFB97DF46D2}"/>
          </ac:spMkLst>
        </pc:spChg>
        <pc:spChg chg="add mod">
          <ac:chgData name="Frederick King" userId="bb732f183fe92d5e" providerId="LiveId" clId="{753283EB-EBC0-413C-B840-BF1DF8182372}" dt="2021-03-30T14:18:01.722" v="17207"/>
          <ac:spMkLst>
            <pc:docMk/>
            <pc:sldMk cId="2147208854" sldId="277"/>
            <ac:spMk id="27" creationId="{9A6D4C5B-33BF-4B9C-8889-371C1DF2359B}"/>
          </ac:spMkLst>
        </pc:spChg>
        <pc:spChg chg="mod">
          <ac:chgData name="Frederick King" userId="bb732f183fe92d5e" providerId="LiveId" clId="{753283EB-EBC0-413C-B840-BF1DF8182372}" dt="2021-04-01T11:41:20.385" v="20847" actId="255"/>
          <ac:spMkLst>
            <pc:docMk/>
            <pc:sldMk cId="2147208854" sldId="277"/>
            <ac:spMk id="44" creationId="{10BC52E2-8000-4CE2-9B81-7E157E773C1D}"/>
          </ac:spMkLst>
        </pc:spChg>
      </pc:sldChg>
      <pc:sldChg chg="addSp delSp modSp mod">
        <pc:chgData name="Frederick King" userId="bb732f183fe92d5e" providerId="LiveId" clId="{753283EB-EBC0-413C-B840-BF1DF8182372}" dt="2021-04-20T11:53:07.702" v="21357" actId="948"/>
        <pc:sldMkLst>
          <pc:docMk/>
          <pc:sldMk cId="1748074316" sldId="278"/>
        </pc:sldMkLst>
        <pc:spChg chg="mod">
          <ac:chgData name="Frederick King" userId="bb732f183fe92d5e" providerId="LiveId" clId="{753283EB-EBC0-413C-B840-BF1DF8182372}" dt="2021-04-01T11:41:45.247" v="20858" actId="404"/>
          <ac:spMkLst>
            <pc:docMk/>
            <pc:sldMk cId="1748074316" sldId="278"/>
            <ac:spMk id="11" creationId="{FFDF53E5-240B-4BBD-A18D-68BEA114263F}"/>
          </ac:spMkLst>
        </pc:spChg>
        <pc:spChg chg="mod">
          <ac:chgData name="Frederick King" userId="bb732f183fe92d5e" providerId="LiveId" clId="{753283EB-EBC0-413C-B840-BF1DF8182372}" dt="2021-04-20T11:53:07.702" v="21357" actId="948"/>
          <ac:spMkLst>
            <pc:docMk/>
            <pc:sldMk cId="1748074316" sldId="278"/>
            <ac:spMk id="12" creationId="{3E9568C4-2F73-431F-BCA3-7F21F3E917A5}"/>
          </ac:spMkLst>
        </pc:spChg>
        <pc:spChg chg="mod">
          <ac:chgData name="Frederick King" userId="bb732f183fe92d5e" providerId="LiveId" clId="{753283EB-EBC0-413C-B840-BF1DF8182372}" dt="2021-04-20T11:53:07.702" v="21357" actId="948"/>
          <ac:spMkLst>
            <pc:docMk/>
            <pc:sldMk cId="1748074316" sldId="278"/>
            <ac:spMk id="13" creationId="{6B73DDB1-2066-4A3A-95F1-DABE0D56E66D}"/>
          </ac:spMkLst>
        </pc:spChg>
        <pc:spChg chg="mod">
          <ac:chgData name="Frederick King" userId="bb732f183fe92d5e" providerId="LiveId" clId="{753283EB-EBC0-413C-B840-BF1DF8182372}" dt="2021-04-20T11:53:07.702" v="21357" actId="948"/>
          <ac:spMkLst>
            <pc:docMk/>
            <pc:sldMk cId="1748074316" sldId="278"/>
            <ac:spMk id="14" creationId="{CC7F3408-1F0D-4332-A29F-21E0FBFC00CC}"/>
          </ac:spMkLst>
        </pc:spChg>
        <pc:spChg chg="mod">
          <ac:chgData name="Frederick King" userId="bb732f183fe92d5e" providerId="LiveId" clId="{753283EB-EBC0-413C-B840-BF1DF8182372}" dt="2021-04-20T11:53:07.702" v="21357" actId="948"/>
          <ac:spMkLst>
            <pc:docMk/>
            <pc:sldMk cId="1748074316" sldId="278"/>
            <ac:spMk id="15" creationId="{5E240199-E68D-46CE-A2FB-3A60E32A3E72}"/>
          </ac:spMkLst>
        </pc:spChg>
        <pc:spChg chg="mod">
          <ac:chgData name="Frederick King" userId="bb732f183fe92d5e" providerId="LiveId" clId="{753283EB-EBC0-413C-B840-BF1DF8182372}" dt="2021-04-01T11:41:45.247" v="20858" actId="404"/>
          <ac:spMkLst>
            <pc:docMk/>
            <pc:sldMk cId="1748074316" sldId="278"/>
            <ac:spMk id="23" creationId="{B06E75AC-6E6E-4B9F-849A-4F8422C00627}"/>
          </ac:spMkLst>
        </pc:spChg>
        <pc:spChg chg="mod">
          <ac:chgData name="Frederick King" userId="bb732f183fe92d5e" providerId="LiveId" clId="{753283EB-EBC0-413C-B840-BF1DF8182372}" dt="2021-04-20T11:53:07.702" v="21357" actId="948"/>
          <ac:spMkLst>
            <pc:docMk/>
            <pc:sldMk cId="1748074316" sldId="278"/>
            <ac:spMk id="24" creationId="{133E0348-3C9C-4A18-98A3-EDA16E4149FA}"/>
          </ac:spMkLst>
        </pc:spChg>
        <pc:spChg chg="mod">
          <ac:chgData name="Frederick King" userId="bb732f183fe92d5e" providerId="LiveId" clId="{753283EB-EBC0-413C-B840-BF1DF8182372}" dt="2021-04-20T11:53:07.702" v="21357" actId="948"/>
          <ac:spMkLst>
            <pc:docMk/>
            <pc:sldMk cId="1748074316" sldId="278"/>
            <ac:spMk id="25" creationId="{91446B96-94A7-4D02-930C-E0C259D5B228}"/>
          </ac:spMkLst>
        </pc:spChg>
        <pc:spChg chg="mod">
          <ac:chgData name="Frederick King" userId="bb732f183fe92d5e" providerId="LiveId" clId="{753283EB-EBC0-413C-B840-BF1DF8182372}" dt="2021-04-20T11:53:07.702" v="21357" actId="948"/>
          <ac:spMkLst>
            <pc:docMk/>
            <pc:sldMk cId="1748074316" sldId="278"/>
            <ac:spMk id="26" creationId="{17EFD8FB-7576-4007-8585-B1B95444D882}"/>
          </ac:spMkLst>
        </pc:spChg>
        <pc:spChg chg="mod">
          <ac:chgData name="Frederick King" userId="bb732f183fe92d5e" providerId="LiveId" clId="{753283EB-EBC0-413C-B840-BF1DF8182372}" dt="2021-04-20T11:53:07.702" v="21357" actId="948"/>
          <ac:spMkLst>
            <pc:docMk/>
            <pc:sldMk cId="1748074316" sldId="278"/>
            <ac:spMk id="27" creationId="{1C647731-A1FC-47C8-9927-B5ECF6D22EA8}"/>
          </ac:spMkLst>
        </pc:spChg>
        <pc:spChg chg="mod">
          <ac:chgData name="Frederick King" userId="bb732f183fe92d5e" providerId="LiveId" clId="{753283EB-EBC0-413C-B840-BF1DF8182372}" dt="2021-04-01T11:41:45.247" v="20858" actId="404"/>
          <ac:spMkLst>
            <pc:docMk/>
            <pc:sldMk cId="1748074316" sldId="278"/>
            <ac:spMk id="29" creationId="{634CF29F-DF29-4B18-887A-8D2AA002A02E}"/>
          </ac:spMkLst>
        </pc:spChg>
        <pc:spChg chg="mod">
          <ac:chgData name="Frederick King" userId="bb732f183fe92d5e" providerId="LiveId" clId="{753283EB-EBC0-413C-B840-BF1DF8182372}" dt="2021-04-01T11:41:38.711" v="20857" actId="1036"/>
          <ac:spMkLst>
            <pc:docMk/>
            <pc:sldMk cId="1748074316" sldId="278"/>
            <ac:spMk id="30" creationId="{749CC772-1CE3-4426-A136-8BCE6E6E4CD4}"/>
          </ac:spMkLst>
        </pc:spChg>
        <pc:spChg chg="mod">
          <ac:chgData name="Frederick King" userId="bb732f183fe92d5e" providerId="LiveId" clId="{753283EB-EBC0-413C-B840-BF1DF8182372}" dt="2021-04-01T11:41:38.711" v="20857" actId="1036"/>
          <ac:spMkLst>
            <pc:docMk/>
            <pc:sldMk cId="1748074316" sldId="278"/>
            <ac:spMk id="31" creationId="{689473DE-0C40-4D4F-9E70-AF73EB78813B}"/>
          </ac:spMkLst>
        </pc:spChg>
        <pc:spChg chg="mod">
          <ac:chgData name="Frederick King" userId="bb732f183fe92d5e" providerId="LiveId" clId="{753283EB-EBC0-413C-B840-BF1DF8182372}" dt="2021-04-01T11:41:38.711" v="20857" actId="1036"/>
          <ac:spMkLst>
            <pc:docMk/>
            <pc:sldMk cId="1748074316" sldId="278"/>
            <ac:spMk id="32" creationId="{D0FCD157-68D3-498D-82A9-5F37549A361B}"/>
          </ac:spMkLst>
        </pc:spChg>
        <pc:spChg chg="mod">
          <ac:chgData name="Frederick King" userId="bb732f183fe92d5e" providerId="LiveId" clId="{753283EB-EBC0-413C-B840-BF1DF8182372}" dt="2021-04-01T11:41:38.711" v="20857" actId="1036"/>
          <ac:spMkLst>
            <pc:docMk/>
            <pc:sldMk cId="1748074316" sldId="278"/>
            <ac:spMk id="33" creationId="{95ACF374-ADAD-455F-AD13-EBE66FD9AA76}"/>
          </ac:spMkLst>
        </pc:spChg>
        <pc:spChg chg="mod">
          <ac:chgData name="Frederick King" userId="bb732f183fe92d5e" providerId="LiveId" clId="{753283EB-EBC0-413C-B840-BF1DF8182372}" dt="2021-04-01T11:41:38.711" v="20857" actId="1036"/>
          <ac:spMkLst>
            <pc:docMk/>
            <pc:sldMk cId="1748074316" sldId="278"/>
            <ac:spMk id="37" creationId="{5A185F24-26A4-412E-B5BD-C0E815437B80}"/>
          </ac:spMkLst>
        </pc:spChg>
        <pc:spChg chg="mod">
          <ac:chgData name="Frederick King" userId="bb732f183fe92d5e" providerId="LiveId" clId="{753283EB-EBC0-413C-B840-BF1DF8182372}" dt="2021-04-01T11:41:38.711" v="20857" actId="1036"/>
          <ac:spMkLst>
            <pc:docMk/>
            <pc:sldMk cId="1748074316" sldId="278"/>
            <ac:spMk id="39" creationId="{100895F7-35D4-42A3-BA8D-1E0FCBC79D12}"/>
          </ac:spMkLst>
        </pc:spChg>
        <pc:spChg chg="mod">
          <ac:chgData name="Frederick King" userId="bb732f183fe92d5e" providerId="LiveId" clId="{753283EB-EBC0-413C-B840-BF1DF8182372}" dt="2021-04-01T11:41:38.711" v="20857" actId="1036"/>
          <ac:spMkLst>
            <pc:docMk/>
            <pc:sldMk cId="1748074316" sldId="278"/>
            <ac:spMk id="41" creationId="{187B131B-17BD-4DFF-A9BD-C7156E18A12D}"/>
          </ac:spMkLst>
        </pc:spChg>
        <pc:spChg chg="mod">
          <ac:chgData name="Frederick King" userId="bb732f183fe92d5e" providerId="LiveId" clId="{753283EB-EBC0-413C-B840-BF1DF8182372}" dt="2021-04-01T11:41:38.711" v="20857" actId="1036"/>
          <ac:spMkLst>
            <pc:docMk/>
            <pc:sldMk cId="1748074316" sldId="278"/>
            <ac:spMk id="43" creationId="{2888DE59-C99E-4C31-98A2-C4033D1988E7}"/>
          </ac:spMkLst>
        </pc:spChg>
        <pc:spChg chg="mod">
          <ac:chgData name="Frederick King" userId="bb732f183fe92d5e" providerId="LiveId" clId="{753283EB-EBC0-413C-B840-BF1DF8182372}" dt="2021-04-01T11:41:38.711" v="20857" actId="1036"/>
          <ac:spMkLst>
            <pc:docMk/>
            <pc:sldMk cId="1748074316" sldId="278"/>
            <ac:spMk id="44" creationId="{1704750D-AE15-427C-9A77-C4CF3C47F9AB}"/>
          </ac:spMkLst>
        </pc:spChg>
        <pc:spChg chg="del">
          <ac:chgData name="Frederick King" userId="bb732f183fe92d5e" providerId="LiveId" clId="{753283EB-EBC0-413C-B840-BF1DF8182372}" dt="2021-03-30T08:23:43.072" v="3743" actId="478"/>
          <ac:spMkLst>
            <pc:docMk/>
            <pc:sldMk cId="1748074316" sldId="278"/>
            <ac:spMk id="46" creationId="{98AD4BE5-381A-4E12-91E6-A717858E95CE}"/>
          </ac:spMkLst>
        </pc:spChg>
        <pc:spChg chg="add del mod">
          <ac:chgData name="Frederick King" userId="bb732f183fe92d5e" providerId="LiveId" clId="{753283EB-EBC0-413C-B840-BF1DF8182372}" dt="2021-03-29T13:50:42.288" v="973" actId="478"/>
          <ac:spMkLst>
            <pc:docMk/>
            <pc:sldMk cId="1748074316" sldId="278"/>
            <ac:spMk id="47" creationId="{70A6F7ED-4AEC-4757-8C36-B3C5B4AFBFD9}"/>
          </ac:spMkLst>
        </pc:spChg>
        <pc:spChg chg="add del mod">
          <ac:chgData name="Frederick King" userId="bb732f183fe92d5e" providerId="LiveId" clId="{753283EB-EBC0-413C-B840-BF1DF8182372}" dt="2021-03-30T13:24:46.843" v="17009" actId="478"/>
          <ac:spMkLst>
            <pc:docMk/>
            <pc:sldMk cId="1748074316" sldId="278"/>
            <ac:spMk id="48" creationId="{33020BB0-D454-489F-80E6-937451B1CD4A}"/>
          </ac:spMkLst>
        </pc:spChg>
        <pc:spChg chg="add mod">
          <ac:chgData name="Frederick King" userId="bb732f183fe92d5e" providerId="LiveId" clId="{753283EB-EBC0-413C-B840-BF1DF8182372}" dt="2021-03-30T08:23:43.448" v="3744"/>
          <ac:spMkLst>
            <pc:docMk/>
            <pc:sldMk cId="1748074316" sldId="278"/>
            <ac:spMk id="49" creationId="{0FB76FBD-4E7C-45D7-8741-1902748D0BCC}"/>
          </ac:spMkLst>
        </pc:spChg>
        <pc:spChg chg="add del mod">
          <ac:chgData name="Frederick King" userId="bb732f183fe92d5e" providerId="LiveId" clId="{753283EB-EBC0-413C-B840-BF1DF8182372}" dt="2021-03-30T14:17:56.764" v="17204" actId="478"/>
          <ac:spMkLst>
            <pc:docMk/>
            <pc:sldMk cId="1748074316" sldId="278"/>
            <ac:spMk id="50" creationId="{BB857B7A-AE01-4613-805E-5C14E76FBA48}"/>
          </ac:spMkLst>
        </pc:spChg>
        <pc:spChg chg="add mod">
          <ac:chgData name="Frederick King" userId="bb732f183fe92d5e" providerId="LiveId" clId="{753283EB-EBC0-413C-B840-BF1DF8182372}" dt="2021-03-30T14:17:57.187" v="17205"/>
          <ac:spMkLst>
            <pc:docMk/>
            <pc:sldMk cId="1748074316" sldId="278"/>
            <ac:spMk id="51" creationId="{5D0FE15E-1E4D-49CF-BFA0-2C4D4D3CB3E6}"/>
          </ac:spMkLst>
        </pc:spChg>
        <pc:spChg chg="mod">
          <ac:chgData name="Frederick King" userId="bb732f183fe92d5e" providerId="LiveId" clId="{753283EB-EBC0-413C-B840-BF1DF8182372}" dt="2021-04-20T11:53:07.702" v="21357" actId="948"/>
          <ac:spMkLst>
            <pc:docMk/>
            <pc:sldMk cId="1748074316" sldId="278"/>
            <ac:spMk id="62" creationId="{ADAC8C19-5852-44E9-8208-B4AD64521505}"/>
          </ac:spMkLst>
        </pc:spChg>
        <pc:spChg chg="mod">
          <ac:chgData name="Frederick King" userId="bb732f183fe92d5e" providerId="LiveId" clId="{753283EB-EBC0-413C-B840-BF1DF8182372}" dt="2021-04-20T11:53:07.702" v="21357" actId="948"/>
          <ac:spMkLst>
            <pc:docMk/>
            <pc:sldMk cId="1748074316" sldId="278"/>
            <ac:spMk id="64" creationId="{7F789656-93BF-4372-A78E-51092AC1F313}"/>
          </ac:spMkLst>
        </pc:spChg>
        <pc:spChg chg="mod">
          <ac:chgData name="Frederick King" userId="bb732f183fe92d5e" providerId="LiveId" clId="{753283EB-EBC0-413C-B840-BF1DF8182372}" dt="2021-04-01T11:41:38.711" v="20857" actId="1036"/>
          <ac:spMkLst>
            <pc:docMk/>
            <pc:sldMk cId="1748074316" sldId="278"/>
            <ac:spMk id="65" creationId="{11DFD74B-B28E-42D7-9CF8-F3A1B4C19EDC}"/>
          </ac:spMkLst>
        </pc:spChg>
        <pc:spChg chg="mod">
          <ac:chgData name="Frederick King" userId="bb732f183fe92d5e" providerId="LiveId" clId="{753283EB-EBC0-413C-B840-BF1DF8182372}" dt="2021-04-01T11:41:38.711" v="20857" actId="1036"/>
          <ac:spMkLst>
            <pc:docMk/>
            <pc:sldMk cId="1748074316" sldId="278"/>
            <ac:spMk id="67" creationId="{2B990967-DF2E-4E70-BB61-060D611528E0}"/>
          </ac:spMkLst>
        </pc:spChg>
        <pc:cxnChg chg="mod">
          <ac:chgData name="Frederick King" userId="bb732f183fe92d5e" providerId="LiveId" clId="{753283EB-EBC0-413C-B840-BF1DF8182372}" dt="2021-04-20T11:46:47.880" v="21284" actId="693"/>
          <ac:cxnSpMkLst>
            <pc:docMk/>
            <pc:sldMk cId="1748074316" sldId="278"/>
            <ac:cxnSpMk id="5" creationId="{24810186-5EB5-4EC5-B90A-1F723244C188}"/>
          </ac:cxnSpMkLst>
        </pc:cxnChg>
        <pc:cxnChg chg="mod">
          <ac:chgData name="Frederick King" userId="bb732f183fe92d5e" providerId="LiveId" clId="{753283EB-EBC0-413C-B840-BF1DF8182372}" dt="2021-04-20T11:46:47.880" v="21284" actId="693"/>
          <ac:cxnSpMkLst>
            <pc:docMk/>
            <pc:sldMk cId="1748074316" sldId="278"/>
            <ac:cxnSpMk id="6" creationId="{0E3FEF84-13CB-4831-BC45-0F3FC6CE4DE1}"/>
          </ac:cxnSpMkLst>
        </pc:cxnChg>
        <pc:cxnChg chg="mod">
          <ac:chgData name="Frederick King" userId="bb732f183fe92d5e" providerId="LiveId" clId="{753283EB-EBC0-413C-B840-BF1DF8182372}" dt="2021-04-20T11:46:47.880" v="21284" actId="693"/>
          <ac:cxnSpMkLst>
            <pc:docMk/>
            <pc:sldMk cId="1748074316" sldId="278"/>
            <ac:cxnSpMk id="7" creationId="{798EBC30-BE46-499B-8866-1D95CBA4AE54}"/>
          </ac:cxnSpMkLst>
        </pc:cxnChg>
        <pc:cxnChg chg="mod">
          <ac:chgData name="Frederick King" userId="bb732f183fe92d5e" providerId="LiveId" clId="{753283EB-EBC0-413C-B840-BF1DF8182372}" dt="2021-04-20T11:46:47.880" v="21284" actId="693"/>
          <ac:cxnSpMkLst>
            <pc:docMk/>
            <pc:sldMk cId="1748074316" sldId="278"/>
            <ac:cxnSpMk id="8" creationId="{E502F8DC-3EB2-4B4D-A40D-7A8061320263}"/>
          </ac:cxnSpMkLst>
        </pc:cxnChg>
        <pc:cxnChg chg="mod">
          <ac:chgData name="Frederick King" userId="bb732f183fe92d5e" providerId="LiveId" clId="{753283EB-EBC0-413C-B840-BF1DF8182372}" dt="2021-04-20T11:46:47.880" v="21284" actId="693"/>
          <ac:cxnSpMkLst>
            <pc:docMk/>
            <pc:sldMk cId="1748074316" sldId="278"/>
            <ac:cxnSpMk id="9" creationId="{0CE567DF-D429-4A22-B3F0-39AD8A95BE51}"/>
          </ac:cxnSpMkLst>
        </pc:cxnChg>
        <pc:cxnChg chg="mod">
          <ac:chgData name="Frederick King" userId="bb732f183fe92d5e" providerId="LiveId" clId="{753283EB-EBC0-413C-B840-BF1DF8182372}" dt="2021-04-20T11:46:52.834" v="21285" actId="693"/>
          <ac:cxnSpMkLst>
            <pc:docMk/>
            <pc:sldMk cId="1748074316" sldId="278"/>
            <ac:cxnSpMk id="17" creationId="{28A0CB08-88D8-4B6E-AE0F-BC91F6DED8CD}"/>
          </ac:cxnSpMkLst>
        </pc:cxnChg>
        <pc:cxnChg chg="mod">
          <ac:chgData name="Frederick King" userId="bb732f183fe92d5e" providerId="LiveId" clId="{753283EB-EBC0-413C-B840-BF1DF8182372}" dt="2021-04-20T11:46:52.834" v="21285" actId="693"/>
          <ac:cxnSpMkLst>
            <pc:docMk/>
            <pc:sldMk cId="1748074316" sldId="278"/>
            <ac:cxnSpMk id="18" creationId="{FEC01CF5-D336-474A-AC9D-27A406062D57}"/>
          </ac:cxnSpMkLst>
        </pc:cxnChg>
        <pc:cxnChg chg="mod">
          <ac:chgData name="Frederick King" userId="bb732f183fe92d5e" providerId="LiveId" clId="{753283EB-EBC0-413C-B840-BF1DF8182372}" dt="2021-04-20T11:46:52.834" v="21285" actId="693"/>
          <ac:cxnSpMkLst>
            <pc:docMk/>
            <pc:sldMk cId="1748074316" sldId="278"/>
            <ac:cxnSpMk id="19" creationId="{AA210E3D-8601-4A15-A168-FFD512173806}"/>
          </ac:cxnSpMkLst>
        </pc:cxnChg>
        <pc:cxnChg chg="mod">
          <ac:chgData name="Frederick King" userId="bb732f183fe92d5e" providerId="LiveId" clId="{753283EB-EBC0-413C-B840-BF1DF8182372}" dt="2021-04-20T11:46:52.834" v="21285" actId="693"/>
          <ac:cxnSpMkLst>
            <pc:docMk/>
            <pc:sldMk cId="1748074316" sldId="278"/>
            <ac:cxnSpMk id="20" creationId="{785DA103-C204-4CBF-B5A4-82F8333E1F03}"/>
          </ac:cxnSpMkLst>
        </pc:cxnChg>
        <pc:cxnChg chg="mod">
          <ac:chgData name="Frederick King" userId="bb732f183fe92d5e" providerId="LiveId" clId="{753283EB-EBC0-413C-B840-BF1DF8182372}" dt="2021-04-20T11:46:52.834" v="21285" actId="693"/>
          <ac:cxnSpMkLst>
            <pc:docMk/>
            <pc:sldMk cId="1748074316" sldId="278"/>
            <ac:cxnSpMk id="21" creationId="{98471789-DD7A-4934-A3D4-9378910C20D3}"/>
          </ac:cxnSpMkLst>
        </pc:cxnChg>
        <pc:cxnChg chg="mod">
          <ac:chgData name="Frederick King" userId="bb732f183fe92d5e" providerId="LiveId" clId="{753283EB-EBC0-413C-B840-BF1DF8182372}" dt="2021-04-01T11:41:38.711" v="20857" actId="1036"/>
          <ac:cxnSpMkLst>
            <pc:docMk/>
            <pc:sldMk cId="1748074316" sldId="278"/>
            <ac:cxnSpMk id="35" creationId="{FA29661A-2C62-4E12-880B-E4CCE7F20216}"/>
          </ac:cxnSpMkLst>
        </pc:cxnChg>
        <pc:cxnChg chg="mod">
          <ac:chgData name="Frederick King" userId="bb732f183fe92d5e" providerId="LiveId" clId="{753283EB-EBC0-413C-B840-BF1DF8182372}" dt="2021-04-01T11:41:38.711" v="20857" actId="1036"/>
          <ac:cxnSpMkLst>
            <pc:docMk/>
            <pc:sldMk cId="1748074316" sldId="278"/>
            <ac:cxnSpMk id="36" creationId="{693D6269-4939-44E7-83B4-5054116F7F76}"/>
          </ac:cxnSpMkLst>
        </pc:cxnChg>
        <pc:cxnChg chg="mod">
          <ac:chgData name="Frederick King" userId="bb732f183fe92d5e" providerId="LiveId" clId="{753283EB-EBC0-413C-B840-BF1DF8182372}" dt="2021-04-01T11:41:38.711" v="20857" actId="1036"/>
          <ac:cxnSpMkLst>
            <pc:docMk/>
            <pc:sldMk cId="1748074316" sldId="278"/>
            <ac:cxnSpMk id="38" creationId="{2B06A78E-04C9-42D1-A96E-3B8F63482527}"/>
          </ac:cxnSpMkLst>
        </pc:cxnChg>
        <pc:cxnChg chg="mod">
          <ac:chgData name="Frederick King" userId="bb732f183fe92d5e" providerId="LiveId" clId="{753283EB-EBC0-413C-B840-BF1DF8182372}" dt="2021-04-01T11:41:38.711" v="20857" actId="1036"/>
          <ac:cxnSpMkLst>
            <pc:docMk/>
            <pc:sldMk cId="1748074316" sldId="278"/>
            <ac:cxnSpMk id="40" creationId="{55700AFF-6FCB-4E56-96D3-8FE42829FD01}"/>
          </ac:cxnSpMkLst>
        </pc:cxnChg>
        <pc:cxnChg chg="mod">
          <ac:chgData name="Frederick King" userId="bb732f183fe92d5e" providerId="LiveId" clId="{753283EB-EBC0-413C-B840-BF1DF8182372}" dt="2021-04-01T11:41:38.711" v="20857" actId="1036"/>
          <ac:cxnSpMkLst>
            <pc:docMk/>
            <pc:sldMk cId="1748074316" sldId="278"/>
            <ac:cxnSpMk id="42" creationId="{DDF335E4-E337-43A6-9997-DE015ED2F3CB}"/>
          </ac:cxnSpMkLst>
        </pc:cxnChg>
        <pc:cxnChg chg="mod">
          <ac:chgData name="Frederick King" userId="bb732f183fe92d5e" providerId="LiveId" clId="{753283EB-EBC0-413C-B840-BF1DF8182372}" dt="2021-04-20T11:46:47.880" v="21284" actId="693"/>
          <ac:cxnSpMkLst>
            <pc:docMk/>
            <pc:sldMk cId="1748074316" sldId="278"/>
            <ac:cxnSpMk id="61" creationId="{63D72001-80CE-428D-8ADA-334A04982E61}"/>
          </ac:cxnSpMkLst>
        </pc:cxnChg>
        <pc:cxnChg chg="mod">
          <ac:chgData name="Frederick King" userId="bb732f183fe92d5e" providerId="LiveId" clId="{753283EB-EBC0-413C-B840-BF1DF8182372}" dt="2021-04-20T11:46:52.834" v="21285" actId="693"/>
          <ac:cxnSpMkLst>
            <pc:docMk/>
            <pc:sldMk cId="1748074316" sldId="278"/>
            <ac:cxnSpMk id="63" creationId="{813F859D-BB88-4A23-984A-84AFA94C2FAF}"/>
          </ac:cxnSpMkLst>
        </pc:cxnChg>
        <pc:cxnChg chg="mod">
          <ac:chgData name="Frederick King" userId="bb732f183fe92d5e" providerId="LiveId" clId="{753283EB-EBC0-413C-B840-BF1DF8182372}" dt="2021-04-01T11:41:38.711" v="20857" actId="1036"/>
          <ac:cxnSpMkLst>
            <pc:docMk/>
            <pc:sldMk cId="1748074316" sldId="278"/>
            <ac:cxnSpMk id="66" creationId="{5FDEFA49-4A07-44DE-8D0C-EB36C0D57718}"/>
          </ac:cxnSpMkLst>
        </pc:cxnChg>
      </pc:sldChg>
      <pc:sldChg chg="addSp delSp modSp mod">
        <pc:chgData name="Frederick King" userId="bb732f183fe92d5e" providerId="LiveId" clId="{753283EB-EBC0-413C-B840-BF1DF8182372}" dt="2021-04-20T11:53:40.657" v="21360" actId="12"/>
        <pc:sldMkLst>
          <pc:docMk/>
          <pc:sldMk cId="1768867071" sldId="279"/>
        </pc:sldMkLst>
        <pc:spChg chg="mod">
          <ac:chgData name="Frederick King" userId="bb732f183fe92d5e" providerId="LiveId" clId="{753283EB-EBC0-413C-B840-BF1DF8182372}" dt="2021-04-01T11:42:05.378" v="20861" actId="404"/>
          <ac:spMkLst>
            <pc:docMk/>
            <pc:sldMk cId="1768867071" sldId="279"/>
            <ac:spMk id="11" creationId="{FFDF53E5-240B-4BBD-A18D-68BEA114263F}"/>
          </ac:spMkLst>
        </pc:spChg>
        <pc:spChg chg="mod">
          <ac:chgData name="Frederick King" userId="bb732f183fe92d5e" providerId="LiveId" clId="{753283EB-EBC0-413C-B840-BF1DF8182372}" dt="2021-04-20T11:53:36.116" v="21359" actId="12"/>
          <ac:spMkLst>
            <pc:docMk/>
            <pc:sldMk cId="1768867071" sldId="279"/>
            <ac:spMk id="12" creationId="{3E9568C4-2F73-431F-BCA3-7F21F3E917A5}"/>
          </ac:spMkLst>
        </pc:spChg>
        <pc:spChg chg="mod">
          <ac:chgData name="Frederick King" userId="bb732f183fe92d5e" providerId="LiveId" clId="{753283EB-EBC0-413C-B840-BF1DF8182372}" dt="2021-04-20T11:53:36.116" v="21359" actId="12"/>
          <ac:spMkLst>
            <pc:docMk/>
            <pc:sldMk cId="1768867071" sldId="279"/>
            <ac:spMk id="13" creationId="{6B73DDB1-2066-4A3A-95F1-DABE0D56E66D}"/>
          </ac:spMkLst>
        </pc:spChg>
        <pc:spChg chg="mod">
          <ac:chgData name="Frederick King" userId="bb732f183fe92d5e" providerId="LiveId" clId="{753283EB-EBC0-413C-B840-BF1DF8182372}" dt="2021-04-01T11:42:02.670" v="20860" actId="404"/>
          <ac:spMkLst>
            <pc:docMk/>
            <pc:sldMk cId="1768867071" sldId="279"/>
            <ac:spMk id="23" creationId="{B06E75AC-6E6E-4B9F-849A-4F8422C00627}"/>
          </ac:spMkLst>
        </pc:spChg>
        <pc:spChg chg="mod">
          <ac:chgData name="Frederick King" userId="bb732f183fe92d5e" providerId="LiveId" clId="{753283EB-EBC0-413C-B840-BF1DF8182372}" dt="2021-04-20T11:53:30.804" v="21358" actId="12"/>
          <ac:spMkLst>
            <pc:docMk/>
            <pc:sldMk cId="1768867071" sldId="279"/>
            <ac:spMk id="24" creationId="{133E0348-3C9C-4A18-98A3-EDA16E4149FA}"/>
          </ac:spMkLst>
        </pc:spChg>
        <pc:spChg chg="mod">
          <ac:chgData name="Frederick King" userId="bb732f183fe92d5e" providerId="LiveId" clId="{753283EB-EBC0-413C-B840-BF1DF8182372}" dt="2021-04-20T11:53:30.804" v="21358" actId="12"/>
          <ac:spMkLst>
            <pc:docMk/>
            <pc:sldMk cId="1768867071" sldId="279"/>
            <ac:spMk id="25" creationId="{91446B96-94A7-4D02-930C-E0C259D5B228}"/>
          </ac:spMkLst>
        </pc:spChg>
        <pc:spChg chg="mod">
          <ac:chgData name="Frederick King" userId="bb732f183fe92d5e" providerId="LiveId" clId="{753283EB-EBC0-413C-B840-BF1DF8182372}" dt="2021-04-01T11:42:00.394" v="20859" actId="404"/>
          <ac:spMkLst>
            <pc:docMk/>
            <pc:sldMk cId="1768867071" sldId="279"/>
            <ac:spMk id="29" creationId="{634CF29F-DF29-4B18-887A-8D2AA002A02E}"/>
          </ac:spMkLst>
        </pc:spChg>
        <pc:spChg chg="mod">
          <ac:chgData name="Frederick King" userId="bb732f183fe92d5e" providerId="LiveId" clId="{753283EB-EBC0-413C-B840-BF1DF8182372}" dt="2021-03-30T10:03:15.944" v="3905" actId="164"/>
          <ac:spMkLst>
            <pc:docMk/>
            <pc:sldMk cId="1768867071" sldId="279"/>
            <ac:spMk id="30" creationId="{749CC772-1CE3-4426-A136-8BCE6E6E4CD4}"/>
          </ac:spMkLst>
        </pc:spChg>
        <pc:spChg chg="mod">
          <ac:chgData name="Frederick King" userId="bb732f183fe92d5e" providerId="LiveId" clId="{753283EB-EBC0-413C-B840-BF1DF8182372}" dt="2021-03-30T10:03:15.944" v="3905" actId="164"/>
          <ac:spMkLst>
            <pc:docMk/>
            <pc:sldMk cId="1768867071" sldId="279"/>
            <ac:spMk id="31" creationId="{689473DE-0C40-4D4F-9E70-AF73EB78813B}"/>
          </ac:spMkLst>
        </pc:spChg>
        <pc:spChg chg="add del mod">
          <ac:chgData name="Frederick King" userId="bb732f183fe92d5e" providerId="LiveId" clId="{753283EB-EBC0-413C-B840-BF1DF8182372}" dt="2021-03-29T13:50:45.950" v="975" actId="478"/>
          <ac:spMkLst>
            <pc:docMk/>
            <pc:sldMk cId="1768867071" sldId="279"/>
            <ac:spMk id="33" creationId="{8C644CAC-11B9-4B99-A009-DCA31A3CDA18}"/>
          </ac:spMkLst>
        </pc:spChg>
        <pc:spChg chg="add del mod">
          <ac:chgData name="Frederick King" userId="bb732f183fe92d5e" providerId="LiveId" clId="{753283EB-EBC0-413C-B840-BF1DF8182372}" dt="2021-03-30T13:24:40.154" v="17006" actId="478"/>
          <ac:spMkLst>
            <pc:docMk/>
            <pc:sldMk cId="1768867071" sldId="279"/>
            <ac:spMk id="34" creationId="{70E4196E-60F2-4BF2-AB33-1E9DAFC1E9AF}"/>
          </ac:spMkLst>
        </pc:spChg>
        <pc:spChg chg="mod">
          <ac:chgData name="Frederick King" userId="bb732f183fe92d5e" providerId="LiveId" clId="{753283EB-EBC0-413C-B840-BF1DF8182372}" dt="2021-04-01T11:42:11.615" v="20863" actId="404"/>
          <ac:spMkLst>
            <pc:docMk/>
            <pc:sldMk cId="1768867071" sldId="279"/>
            <ac:spMk id="37" creationId="{5A185F24-26A4-412E-B5BD-C0E815437B80}"/>
          </ac:spMkLst>
        </pc:spChg>
        <pc:spChg chg="mod">
          <ac:chgData name="Frederick King" userId="bb732f183fe92d5e" providerId="LiveId" clId="{753283EB-EBC0-413C-B840-BF1DF8182372}" dt="2021-04-01T11:42:11.615" v="20863" actId="404"/>
          <ac:spMkLst>
            <pc:docMk/>
            <pc:sldMk cId="1768867071" sldId="279"/>
            <ac:spMk id="39" creationId="{100895F7-35D4-42A3-BA8D-1E0FCBC79D12}"/>
          </ac:spMkLst>
        </pc:spChg>
        <pc:spChg chg="add mod">
          <ac:chgData name="Frederick King" userId="bb732f183fe92d5e" providerId="LiveId" clId="{753283EB-EBC0-413C-B840-BF1DF8182372}" dt="2021-03-30T08:23:47.254" v="3746"/>
          <ac:spMkLst>
            <pc:docMk/>
            <pc:sldMk cId="1768867071" sldId="279"/>
            <ac:spMk id="40" creationId="{8BE8FE6B-78FC-4954-9B4A-CA72E4B32240}"/>
          </ac:spMkLst>
        </pc:spChg>
        <pc:spChg chg="add del">
          <ac:chgData name="Frederick King" userId="bb732f183fe92d5e" providerId="LiveId" clId="{753283EB-EBC0-413C-B840-BF1DF8182372}" dt="2021-03-30T10:02:03.258" v="3842" actId="22"/>
          <ac:spMkLst>
            <pc:docMk/>
            <pc:sldMk cId="1768867071" sldId="279"/>
            <ac:spMk id="41" creationId="{3E4D1398-A737-45FF-A123-5A75E7ABD319}"/>
          </ac:spMkLst>
        </pc:spChg>
        <pc:spChg chg="add del mod">
          <ac:chgData name="Frederick King" userId="bb732f183fe92d5e" providerId="LiveId" clId="{753283EB-EBC0-413C-B840-BF1DF8182372}" dt="2021-03-30T14:17:52.787" v="17202" actId="478"/>
          <ac:spMkLst>
            <pc:docMk/>
            <pc:sldMk cId="1768867071" sldId="279"/>
            <ac:spMk id="42" creationId="{9970B45F-DD85-46BD-B7F7-73EFC6EB06B5}"/>
          </ac:spMkLst>
        </pc:spChg>
        <pc:spChg chg="add mod">
          <ac:chgData name="Frederick King" userId="bb732f183fe92d5e" providerId="LiveId" clId="{753283EB-EBC0-413C-B840-BF1DF8182372}" dt="2021-03-30T14:17:53.297" v="17203"/>
          <ac:spMkLst>
            <pc:docMk/>
            <pc:sldMk cId="1768867071" sldId="279"/>
            <ac:spMk id="43" creationId="{CB83760E-E5DC-4E32-AC7C-EEEF065A5BB9}"/>
          </ac:spMkLst>
        </pc:spChg>
        <pc:spChg chg="mod">
          <ac:chgData name="Frederick King" userId="bb732f183fe92d5e" providerId="LiveId" clId="{753283EB-EBC0-413C-B840-BF1DF8182372}" dt="2021-04-01T11:42:11.615" v="20863" actId="404"/>
          <ac:spMkLst>
            <pc:docMk/>
            <pc:sldMk cId="1768867071" sldId="279"/>
            <ac:spMk id="44" creationId="{1704750D-AE15-427C-9A77-C4CF3C47F9AB}"/>
          </ac:spMkLst>
        </pc:spChg>
        <pc:spChg chg="del mod">
          <ac:chgData name="Frederick King" userId="bb732f183fe92d5e" providerId="LiveId" clId="{753283EB-EBC0-413C-B840-BF1DF8182372}" dt="2021-03-30T10:03:05.602" v="3902" actId="478"/>
          <ac:spMkLst>
            <pc:docMk/>
            <pc:sldMk cId="1768867071" sldId="279"/>
            <ac:spMk id="45" creationId="{B5DFE415-6F3F-4C38-8B86-8CFB5BAC9045}"/>
          </ac:spMkLst>
        </pc:spChg>
        <pc:spChg chg="mod">
          <ac:chgData name="Frederick King" userId="bb732f183fe92d5e" providerId="LiveId" clId="{753283EB-EBC0-413C-B840-BF1DF8182372}" dt="2021-04-20T11:53:40.657" v="21360" actId="12"/>
          <ac:spMkLst>
            <pc:docMk/>
            <pc:sldMk cId="1768867071" sldId="279"/>
            <ac:spMk id="53" creationId="{A45BCA5B-8156-48B6-9183-969F3F5A445B}"/>
          </ac:spMkLst>
        </pc:spChg>
        <pc:spChg chg="mod">
          <ac:chgData name="Frederick King" userId="bb732f183fe92d5e" providerId="LiveId" clId="{753283EB-EBC0-413C-B840-BF1DF8182372}" dt="2021-04-20T11:53:40.657" v="21360" actId="12"/>
          <ac:spMkLst>
            <pc:docMk/>
            <pc:sldMk cId="1768867071" sldId="279"/>
            <ac:spMk id="55" creationId="{7A96488F-37BD-437D-AB4D-BFC174D54A61}"/>
          </ac:spMkLst>
        </pc:spChg>
        <pc:spChg chg="mod">
          <ac:chgData name="Frederick King" userId="bb732f183fe92d5e" providerId="LiveId" clId="{753283EB-EBC0-413C-B840-BF1DF8182372}" dt="2021-04-01T11:42:08.013" v="20862" actId="404"/>
          <ac:spMkLst>
            <pc:docMk/>
            <pc:sldMk cId="1768867071" sldId="279"/>
            <ac:spMk id="57" creationId="{9BDB8254-6D87-48A8-AE0F-1D65B4D290DA}"/>
          </ac:spMkLst>
        </pc:spChg>
        <pc:spChg chg="del">
          <ac:chgData name="Frederick King" userId="bb732f183fe92d5e" providerId="LiveId" clId="{753283EB-EBC0-413C-B840-BF1DF8182372}" dt="2021-03-30T08:23:46.948" v="3745" actId="478"/>
          <ac:spMkLst>
            <pc:docMk/>
            <pc:sldMk cId="1768867071" sldId="279"/>
            <ac:spMk id="58" creationId="{12489640-03DC-48A7-B791-E6D883560A8F}"/>
          </ac:spMkLst>
        </pc:spChg>
        <pc:grpChg chg="add mod">
          <ac:chgData name="Frederick King" userId="bb732f183fe92d5e" providerId="LiveId" clId="{753283EB-EBC0-413C-B840-BF1DF8182372}" dt="2021-03-30T10:03:25.694" v="3907" actId="465"/>
          <ac:grpSpMkLst>
            <pc:docMk/>
            <pc:sldMk cId="1768867071" sldId="279"/>
            <ac:grpSpMk id="4" creationId="{48608073-A28C-4771-8A93-C2FD7E4375AF}"/>
          </ac:grpSpMkLst>
        </pc:grpChg>
        <pc:grpChg chg="add mod">
          <ac:chgData name="Frederick King" userId="bb732f183fe92d5e" providerId="LiveId" clId="{753283EB-EBC0-413C-B840-BF1DF8182372}" dt="2021-03-30T10:03:25.694" v="3907" actId="465"/>
          <ac:grpSpMkLst>
            <pc:docMk/>
            <pc:sldMk cId="1768867071" sldId="279"/>
            <ac:grpSpMk id="8" creationId="{CB882B2A-D865-4E01-9BC6-48077AA651C3}"/>
          </ac:grpSpMkLst>
        </pc:grpChg>
        <pc:grpChg chg="add mod">
          <ac:chgData name="Frederick King" userId="bb732f183fe92d5e" providerId="LiveId" clId="{753283EB-EBC0-413C-B840-BF1DF8182372}" dt="2021-03-30T10:03:25.694" v="3907" actId="465"/>
          <ac:grpSpMkLst>
            <pc:docMk/>
            <pc:sldMk cId="1768867071" sldId="279"/>
            <ac:grpSpMk id="9" creationId="{B31D5B5C-43A7-4A55-8BFA-012E03FCA936}"/>
          </ac:grpSpMkLst>
        </pc:grpChg>
        <pc:grpChg chg="add mod">
          <ac:chgData name="Frederick King" userId="bb732f183fe92d5e" providerId="LiveId" clId="{753283EB-EBC0-413C-B840-BF1DF8182372}" dt="2021-03-30T10:03:25.694" v="3907" actId="465"/>
          <ac:grpSpMkLst>
            <pc:docMk/>
            <pc:sldMk cId="1768867071" sldId="279"/>
            <ac:grpSpMk id="10" creationId="{A11E51CA-86FC-4757-9BA1-B375ABE5214D}"/>
          </ac:grpSpMkLst>
        </pc:grpChg>
        <pc:grpChg chg="add mod">
          <ac:chgData name="Frederick King" userId="bb732f183fe92d5e" providerId="LiveId" clId="{753283EB-EBC0-413C-B840-BF1DF8182372}" dt="2021-03-30T10:03:25.694" v="3907" actId="465"/>
          <ac:grpSpMkLst>
            <pc:docMk/>
            <pc:sldMk cId="1768867071" sldId="279"/>
            <ac:grpSpMk id="14" creationId="{1C6B69D3-C2CB-4869-A5EB-6B0E5C8DB52F}"/>
          </ac:grpSpMkLst>
        </pc:grpChg>
        <pc:grpChg chg="add mod">
          <ac:chgData name="Frederick King" userId="bb732f183fe92d5e" providerId="LiveId" clId="{753283EB-EBC0-413C-B840-BF1DF8182372}" dt="2021-03-30T10:02:40.659" v="3890" actId="164"/>
          <ac:grpSpMkLst>
            <pc:docMk/>
            <pc:sldMk cId="1768867071" sldId="279"/>
            <ac:grpSpMk id="15" creationId="{0F07B277-51E9-4BE5-9256-851D9A747AC3}"/>
          </ac:grpSpMkLst>
        </pc:grpChg>
        <pc:grpChg chg="add mod">
          <ac:chgData name="Frederick King" userId="bb732f183fe92d5e" providerId="LiveId" clId="{753283EB-EBC0-413C-B840-BF1DF8182372}" dt="2021-03-30T10:03:21.645" v="3906" actId="164"/>
          <ac:grpSpMkLst>
            <pc:docMk/>
            <pc:sldMk cId="1768867071" sldId="279"/>
            <ac:grpSpMk id="16" creationId="{E4F24E36-1E19-48B2-A8C7-2FE15CFEB5FE}"/>
          </ac:grpSpMkLst>
        </pc:grpChg>
        <pc:grpChg chg="add mod">
          <ac:chgData name="Frederick King" userId="bb732f183fe92d5e" providerId="LiveId" clId="{753283EB-EBC0-413C-B840-BF1DF8182372}" dt="2021-03-30T10:03:25.694" v="3907" actId="465"/>
          <ac:grpSpMkLst>
            <pc:docMk/>
            <pc:sldMk cId="1768867071" sldId="279"/>
            <ac:grpSpMk id="20" creationId="{8CDE4B96-6677-4D85-BA91-F99F4490D30E}"/>
          </ac:grpSpMkLst>
        </pc:grpChg>
        <pc:grpChg chg="add mod">
          <ac:chgData name="Frederick King" userId="bb732f183fe92d5e" providerId="LiveId" clId="{753283EB-EBC0-413C-B840-BF1DF8182372}" dt="2021-03-30T10:03:21.645" v="3906" actId="164"/>
          <ac:grpSpMkLst>
            <pc:docMk/>
            <pc:sldMk cId="1768867071" sldId="279"/>
            <ac:grpSpMk id="21" creationId="{B7A65C74-8B04-4504-A878-7B8FF019B312}"/>
          </ac:grpSpMkLst>
        </pc:grpChg>
        <pc:cxnChg chg="mod">
          <ac:chgData name="Frederick King" userId="bb732f183fe92d5e" providerId="LiveId" clId="{753283EB-EBC0-413C-B840-BF1DF8182372}" dt="2021-04-20T11:47:04.998" v="21286" actId="693"/>
          <ac:cxnSpMkLst>
            <pc:docMk/>
            <pc:sldMk cId="1768867071" sldId="279"/>
            <ac:cxnSpMk id="5" creationId="{24810186-5EB5-4EC5-B90A-1F723244C188}"/>
          </ac:cxnSpMkLst>
        </pc:cxnChg>
        <pc:cxnChg chg="mod">
          <ac:chgData name="Frederick King" userId="bb732f183fe92d5e" providerId="LiveId" clId="{753283EB-EBC0-413C-B840-BF1DF8182372}" dt="2021-04-20T11:47:04.998" v="21286" actId="693"/>
          <ac:cxnSpMkLst>
            <pc:docMk/>
            <pc:sldMk cId="1768867071" sldId="279"/>
            <ac:cxnSpMk id="6" creationId="{0E3FEF84-13CB-4831-BC45-0F3FC6CE4DE1}"/>
          </ac:cxnSpMkLst>
        </pc:cxnChg>
        <pc:cxnChg chg="mod">
          <ac:chgData name="Frederick King" userId="bb732f183fe92d5e" providerId="LiveId" clId="{753283EB-EBC0-413C-B840-BF1DF8182372}" dt="2021-04-20T11:47:04.998" v="21286" actId="693"/>
          <ac:cxnSpMkLst>
            <pc:docMk/>
            <pc:sldMk cId="1768867071" sldId="279"/>
            <ac:cxnSpMk id="7" creationId="{798EBC30-BE46-499B-8866-1D95CBA4AE54}"/>
          </ac:cxnSpMkLst>
        </pc:cxnChg>
        <pc:cxnChg chg="mod">
          <ac:chgData name="Frederick King" userId="bb732f183fe92d5e" providerId="LiveId" clId="{753283EB-EBC0-413C-B840-BF1DF8182372}" dt="2021-04-20T11:47:04.998" v="21286" actId="693"/>
          <ac:cxnSpMkLst>
            <pc:docMk/>
            <pc:sldMk cId="1768867071" sldId="279"/>
            <ac:cxnSpMk id="17" creationId="{28A0CB08-88D8-4B6E-AE0F-BC91F6DED8CD}"/>
          </ac:cxnSpMkLst>
        </pc:cxnChg>
        <pc:cxnChg chg="mod">
          <ac:chgData name="Frederick King" userId="bb732f183fe92d5e" providerId="LiveId" clId="{753283EB-EBC0-413C-B840-BF1DF8182372}" dt="2021-04-20T11:47:04.998" v="21286" actId="693"/>
          <ac:cxnSpMkLst>
            <pc:docMk/>
            <pc:sldMk cId="1768867071" sldId="279"/>
            <ac:cxnSpMk id="18" creationId="{FEC01CF5-D336-474A-AC9D-27A406062D57}"/>
          </ac:cxnSpMkLst>
        </pc:cxnChg>
        <pc:cxnChg chg="mod">
          <ac:chgData name="Frederick King" userId="bb732f183fe92d5e" providerId="LiveId" clId="{753283EB-EBC0-413C-B840-BF1DF8182372}" dt="2021-04-20T11:47:04.998" v="21286" actId="693"/>
          <ac:cxnSpMkLst>
            <pc:docMk/>
            <pc:sldMk cId="1768867071" sldId="279"/>
            <ac:cxnSpMk id="19" creationId="{AA210E3D-8601-4A15-A168-FFD512173806}"/>
          </ac:cxnSpMkLst>
        </pc:cxnChg>
        <pc:cxnChg chg="mod">
          <ac:chgData name="Frederick King" userId="bb732f183fe92d5e" providerId="LiveId" clId="{753283EB-EBC0-413C-B840-BF1DF8182372}" dt="2021-03-30T10:03:12.733" v="3904" actId="164"/>
          <ac:cxnSpMkLst>
            <pc:docMk/>
            <pc:sldMk cId="1768867071" sldId="279"/>
            <ac:cxnSpMk id="35" creationId="{FA29661A-2C62-4E12-880B-E4CCE7F20216}"/>
          </ac:cxnSpMkLst>
        </pc:cxnChg>
        <pc:cxnChg chg="mod">
          <ac:chgData name="Frederick King" userId="bb732f183fe92d5e" providerId="LiveId" clId="{753283EB-EBC0-413C-B840-BF1DF8182372}" dt="2021-03-30T10:03:12.733" v="3904" actId="164"/>
          <ac:cxnSpMkLst>
            <pc:docMk/>
            <pc:sldMk cId="1768867071" sldId="279"/>
            <ac:cxnSpMk id="36" creationId="{693D6269-4939-44E7-83B4-5054116F7F76}"/>
          </ac:cxnSpMkLst>
        </pc:cxnChg>
        <pc:cxnChg chg="mod">
          <ac:chgData name="Frederick King" userId="bb732f183fe92d5e" providerId="LiveId" clId="{753283EB-EBC0-413C-B840-BF1DF8182372}" dt="2021-03-30T10:03:12.733" v="3904" actId="164"/>
          <ac:cxnSpMkLst>
            <pc:docMk/>
            <pc:sldMk cId="1768867071" sldId="279"/>
            <ac:cxnSpMk id="38" creationId="{2B06A78E-04C9-42D1-A96E-3B8F63482527}"/>
          </ac:cxnSpMkLst>
        </pc:cxnChg>
        <pc:cxnChg chg="mod">
          <ac:chgData name="Frederick King" userId="bb732f183fe92d5e" providerId="LiveId" clId="{753283EB-EBC0-413C-B840-BF1DF8182372}" dt="2021-04-20T11:47:04.998" v="21286" actId="693"/>
          <ac:cxnSpMkLst>
            <pc:docMk/>
            <pc:sldMk cId="1768867071" sldId="279"/>
            <ac:cxnSpMk id="52" creationId="{9160BDEE-5940-4B94-BE61-5DD1718A7AA3}"/>
          </ac:cxnSpMkLst>
        </pc:cxnChg>
        <pc:cxnChg chg="mod">
          <ac:chgData name="Frederick King" userId="bb732f183fe92d5e" providerId="LiveId" clId="{753283EB-EBC0-413C-B840-BF1DF8182372}" dt="2021-04-20T11:47:04.998" v="21286" actId="693"/>
          <ac:cxnSpMkLst>
            <pc:docMk/>
            <pc:sldMk cId="1768867071" sldId="279"/>
            <ac:cxnSpMk id="54" creationId="{0546E555-3FC7-45AA-8A9D-1257B6234017}"/>
          </ac:cxnSpMkLst>
        </pc:cxnChg>
        <pc:cxnChg chg="mod">
          <ac:chgData name="Frederick King" userId="bb732f183fe92d5e" providerId="LiveId" clId="{753283EB-EBC0-413C-B840-BF1DF8182372}" dt="2021-04-20T11:47:04.998" v="21286" actId="693"/>
          <ac:cxnSpMkLst>
            <pc:docMk/>
            <pc:sldMk cId="1768867071" sldId="279"/>
            <ac:cxnSpMk id="56" creationId="{DB3B01D8-BC4B-469A-BC9D-D8D02F1450F0}"/>
          </ac:cxnSpMkLst>
        </pc:cxnChg>
      </pc:sldChg>
      <pc:sldChg chg="addSp delSp modSp mod">
        <pc:chgData name="Frederick King" userId="bb732f183fe92d5e" providerId="LiveId" clId="{753283EB-EBC0-413C-B840-BF1DF8182372}" dt="2021-04-20T11:53:53.537" v="21361" actId="12"/>
        <pc:sldMkLst>
          <pc:docMk/>
          <pc:sldMk cId="2479679375" sldId="280"/>
        </pc:sldMkLst>
        <pc:spChg chg="add del mod">
          <ac:chgData name="Frederick King" userId="bb732f183fe92d5e" providerId="LiveId" clId="{753283EB-EBC0-413C-B840-BF1DF8182372}" dt="2021-03-29T13:50:52.415" v="978" actId="478"/>
          <ac:spMkLst>
            <pc:docMk/>
            <pc:sldMk cId="2479679375" sldId="280"/>
            <ac:spMk id="6" creationId="{22ED1745-0966-432D-9C8F-05968635C5DD}"/>
          </ac:spMkLst>
        </pc:spChg>
        <pc:spChg chg="add mod">
          <ac:chgData name="Frederick King" userId="bb732f183fe92d5e" providerId="LiveId" clId="{753283EB-EBC0-413C-B840-BF1DF8182372}" dt="2021-04-07T10:14:55.785" v="21205" actId="1076"/>
          <ac:spMkLst>
            <pc:docMk/>
            <pc:sldMk cId="2479679375" sldId="280"/>
            <ac:spMk id="6" creationId="{486F835D-6E42-409E-9BCF-62AD4A336141}"/>
          </ac:spMkLst>
        </pc:spChg>
        <pc:spChg chg="del">
          <ac:chgData name="Frederick King" userId="bb732f183fe92d5e" providerId="LiveId" clId="{753283EB-EBC0-413C-B840-BF1DF8182372}" dt="2021-03-30T08:23:51.558" v="3747" actId="478"/>
          <ac:spMkLst>
            <pc:docMk/>
            <pc:sldMk cId="2479679375" sldId="280"/>
            <ac:spMk id="7" creationId="{DAA38E53-F4C3-4C0B-A768-0DBC6D44E414}"/>
          </ac:spMkLst>
        </pc:spChg>
        <pc:spChg chg="add del mod">
          <ac:chgData name="Frederick King" userId="bb732f183fe92d5e" providerId="LiveId" clId="{753283EB-EBC0-413C-B840-BF1DF8182372}" dt="2021-03-30T13:24:36.635" v="17004" actId="478"/>
          <ac:spMkLst>
            <pc:docMk/>
            <pc:sldMk cId="2479679375" sldId="280"/>
            <ac:spMk id="8" creationId="{6ECF1754-E1EA-4868-B893-A20AAE751EBD}"/>
          </ac:spMkLst>
        </pc:spChg>
        <pc:spChg chg="add mod">
          <ac:chgData name="Frederick King" userId="bb732f183fe92d5e" providerId="LiveId" clId="{753283EB-EBC0-413C-B840-BF1DF8182372}" dt="2021-03-30T08:23:51.862" v="3748"/>
          <ac:spMkLst>
            <pc:docMk/>
            <pc:sldMk cId="2479679375" sldId="280"/>
            <ac:spMk id="9" creationId="{FDB7A162-F1A7-40F6-807E-4D1B232452A3}"/>
          </ac:spMkLst>
        </pc:spChg>
        <pc:spChg chg="add del mod">
          <ac:chgData name="Frederick King" userId="bb732f183fe92d5e" providerId="LiveId" clId="{753283EB-EBC0-413C-B840-BF1DF8182372}" dt="2021-03-30T14:17:48.615" v="17200" actId="478"/>
          <ac:spMkLst>
            <pc:docMk/>
            <pc:sldMk cId="2479679375" sldId="280"/>
            <ac:spMk id="10" creationId="{2D14E650-3DA4-4A57-A252-6878353B2869}"/>
          </ac:spMkLst>
        </pc:spChg>
        <pc:spChg chg="add mod">
          <ac:chgData name="Frederick King" userId="bb732f183fe92d5e" providerId="LiveId" clId="{753283EB-EBC0-413C-B840-BF1DF8182372}" dt="2021-03-30T14:17:49.087" v="17201"/>
          <ac:spMkLst>
            <pc:docMk/>
            <pc:sldMk cId="2479679375" sldId="280"/>
            <ac:spMk id="11" creationId="{DE6395F6-5B23-4226-99C4-6337C4E46CE2}"/>
          </ac:spMkLst>
        </pc:spChg>
        <pc:graphicFrameChg chg="mod modGraphic">
          <ac:chgData name="Frederick King" userId="bb732f183fe92d5e" providerId="LiveId" clId="{753283EB-EBC0-413C-B840-BF1DF8182372}" dt="2021-04-20T11:53:53.537" v="21361" actId="12"/>
          <ac:graphicFrameMkLst>
            <pc:docMk/>
            <pc:sldMk cId="2479679375" sldId="280"/>
            <ac:graphicFrameMk id="4" creationId="{A255111F-496F-4798-A548-F91A1EEA191C}"/>
          </ac:graphicFrameMkLst>
        </pc:graphicFrameChg>
        <pc:cxnChg chg="add del mod">
          <ac:chgData name="Frederick King" userId="bb732f183fe92d5e" providerId="LiveId" clId="{753283EB-EBC0-413C-B840-BF1DF8182372}" dt="2021-03-30T10:22:06.883" v="4424"/>
          <ac:cxnSpMkLst>
            <pc:docMk/>
            <pc:sldMk cId="2479679375" sldId="280"/>
            <ac:cxnSpMk id="3" creationId="{BFAFAE2F-1D79-4CC5-BB36-E1BCA264C869}"/>
          </ac:cxnSpMkLst>
        </pc:cxnChg>
      </pc:sldChg>
      <pc:sldChg chg="addSp delSp modSp mod">
        <pc:chgData name="Frederick King" userId="bb732f183fe92d5e" providerId="LiveId" clId="{753283EB-EBC0-413C-B840-BF1DF8182372}" dt="2021-04-21T13:56:38.071" v="21606" actId="14100"/>
        <pc:sldMkLst>
          <pc:docMk/>
          <pc:sldMk cId="371294846" sldId="281"/>
        </pc:sldMkLst>
        <pc:spChg chg="del mod">
          <ac:chgData name="Frederick King" userId="bb732f183fe92d5e" providerId="LiveId" clId="{753283EB-EBC0-413C-B840-BF1DF8182372}" dt="2021-03-30T10:17:11.520" v="3973" actId="478"/>
          <ac:spMkLst>
            <pc:docMk/>
            <pc:sldMk cId="371294846" sldId="281"/>
            <ac:spMk id="5" creationId="{B31C416B-DB54-499B-9CD0-2251F000CCEB}"/>
          </ac:spMkLst>
        </pc:spChg>
        <pc:spChg chg="mod">
          <ac:chgData name="Frederick King" userId="bb732f183fe92d5e" providerId="LiveId" clId="{753283EB-EBC0-413C-B840-BF1DF8182372}" dt="2021-04-21T13:56:38.071" v="21606" actId="14100"/>
          <ac:spMkLst>
            <pc:docMk/>
            <pc:sldMk cId="371294846" sldId="281"/>
            <ac:spMk id="6" creationId="{C6603FAD-9C84-46A6-B9DB-52EF18C21C65}"/>
          </ac:spMkLst>
        </pc:spChg>
        <pc:spChg chg="del mod">
          <ac:chgData name="Frederick King" userId="bb732f183fe92d5e" providerId="LiveId" clId="{753283EB-EBC0-413C-B840-BF1DF8182372}" dt="2021-03-30T10:17:11.520" v="3973" actId="478"/>
          <ac:spMkLst>
            <pc:docMk/>
            <pc:sldMk cId="371294846" sldId="281"/>
            <ac:spMk id="8" creationId="{A5B5FE28-691C-42F9-AC24-7A6546E33E89}"/>
          </ac:spMkLst>
        </pc:spChg>
        <pc:spChg chg="mod">
          <ac:chgData name="Frederick King" userId="bb732f183fe92d5e" providerId="LiveId" clId="{753283EB-EBC0-413C-B840-BF1DF8182372}" dt="2021-04-21T13:56:38.071" v="21606" actId="14100"/>
          <ac:spMkLst>
            <pc:docMk/>
            <pc:sldMk cId="371294846" sldId="281"/>
            <ac:spMk id="9" creationId="{4BFBE253-46C2-4A5A-B92B-D6E79BFB03EC}"/>
          </ac:spMkLst>
        </pc:spChg>
        <pc:spChg chg="add mod">
          <ac:chgData name="Frederick King" userId="bb732f183fe92d5e" providerId="LiveId" clId="{753283EB-EBC0-413C-B840-BF1DF8182372}" dt="2021-03-30T08:23:55.100" v="3750"/>
          <ac:spMkLst>
            <pc:docMk/>
            <pc:sldMk cId="371294846" sldId="281"/>
            <ac:spMk id="10" creationId="{3ACAB96D-DB20-4C8B-9EBB-0774F4724985}"/>
          </ac:spMkLst>
        </pc:spChg>
        <pc:spChg chg="add del mod">
          <ac:chgData name="Frederick King" userId="bb732f183fe92d5e" providerId="LiveId" clId="{753283EB-EBC0-413C-B840-BF1DF8182372}" dt="2021-03-29T13:50:55.781" v="979" actId="478"/>
          <ac:spMkLst>
            <pc:docMk/>
            <pc:sldMk cId="371294846" sldId="281"/>
            <ac:spMk id="10" creationId="{9FC1EA26-6B81-49FB-8855-024BB139CF47}"/>
          </ac:spMkLst>
        </pc:spChg>
        <pc:spChg chg="add del mod">
          <ac:chgData name="Frederick King" userId="bb732f183fe92d5e" providerId="LiveId" clId="{753283EB-EBC0-413C-B840-BF1DF8182372}" dt="2021-03-30T13:24:32.834" v="17002" actId="478"/>
          <ac:spMkLst>
            <pc:docMk/>
            <pc:sldMk cId="371294846" sldId="281"/>
            <ac:spMk id="12" creationId="{239E28CB-E0F7-413C-A725-BE6D299772AB}"/>
          </ac:spMkLst>
        </pc:spChg>
        <pc:spChg chg="add del mod">
          <ac:chgData name="Frederick King" userId="bb732f183fe92d5e" providerId="LiveId" clId="{753283EB-EBC0-413C-B840-BF1DF8182372}" dt="2021-03-30T14:17:44.968" v="17198" actId="478"/>
          <ac:spMkLst>
            <pc:docMk/>
            <pc:sldMk cId="371294846" sldId="281"/>
            <ac:spMk id="13" creationId="{AF75141B-56AC-412B-AB57-71722B313CCA}"/>
          </ac:spMkLst>
        </pc:spChg>
        <pc:spChg chg="mod topLvl">
          <ac:chgData name="Frederick King" userId="bb732f183fe92d5e" providerId="LiveId" clId="{753283EB-EBC0-413C-B840-BF1DF8182372}" dt="2021-04-01T11:42:36.832" v="20867" actId="404"/>
          <ac:spMkLst>
            <pc:docMk/>
            <pc:sldMk cId="371294846" sldId="281"/>
            <ac:spMk id="14" creationId="{5C72E5D2-7771-4140-BFED-FF15CDE01814}"/>
          </ac:spMkLst>
        </pc:spChg>
        <pc:spChg chg="mod topLvl">
          <ac:chgData name="Frederick King" userId="bb732f183fe92d5e" providerId="LiveId" clId="{753283EB-EBC0-413C-B840-BF1DF8182372}" dt="2021-04-01T11:42:39.684" v="20868" actId="404"/>
          <ac:spMkLst>
            <pc:docMk/>
            <pc:sldMk cId="371294846" sldId="281"/>
            <ac:spMk id="15" creationId="{8B750425-9EAB-48C4-B4AC-B897B520CFD0}"/>
          </ac:spMkLst>
        </pc:spChg>
        <pc:spChg chg="add mod">
          <ac:chgData name="Frederick King" userId="bb732f183fe92d5e" providerId="LiveId" clId="{753283EB-EBC0-413C-B840-BF1DF8182372}" dt="2021-03-30T14:17:45.407" v="17199"/>
          <ac:spMkLst>
            <pc:docMk/>
            <pc:sldMk cId="371294846" sldId="281"/>
            <ac:spMk id="16" creationId="{06A5C974-0BBC-4E5A-952F-688BB0C3DEE7}"/>
          </ac:spMkLst>
        </pc:spChg>
        <pc:spChg chg="del mod topLvl">
          <ac:chgData name="Frederick King" userId="bb732f183fe92d5e" providerId="LiveId" clId="{753283EB-EBC0-413C-B840-BF1DF8182372}" dt="2021-03-30T10:16:27.638" v="3949" actId="478"/>
          <ac:spMkLst>
            <pc:docMk/>
            <pc:sldMk cId="371294846" sldId="281"/>
            <ac:spMk id="17" creationId="{FFC1E8D2-B413-425D-A868-3A48BA403453}"/>
          </ac:spMkLst>
        </pc:spChg>
        <pc:spChg chg="del">
          <ac:chgData name="Frederick King" userId="bb732f183fe92d5e" providerId="LiveId" clId="{753283EB-EBC0-413C-B840-BF1DF8182372}" dt="2021-03-30T08:23:54.796" v="3749" actId="478"/>
          <ac:spMkLst>
            <pc:docMk/>
            <pc:sldMk cId="371294846" sldId="281"/>
            <ac:spMk id="19" creationId="{8D888209-7751-44A7-B3BA-BA6313283FF3}"/>
          </ac:spMkLst>
        </pc:spChg>
        <pc:grpChg chg="add del mod">
          <ac:chgData name="Frederick King" userId="bb732f183fe92d5e" providerId="LiveId" clId="{753283EB-EBC0-413C-B840-BF1DF8182372}" dt="2021-03-30T10:16:24.192" v="3948" actId="165"/>
          <ac:grpSpMkLst>
            <pc:docMk/>
            <pc:sldMk cId="371294846" sldId="281"/>
            <ac:grpSpMk id="13" creationId="{A2999A6D-E429-47B0-811B-65124D142443}"/>
          </ac:grpSpMkLst>
        </pc:grpChg>
        <pc:grpChg chg="del mod topLvl">
          <ac:chgData name="Frederick King" userId="bb732f183fe92d5e" providerId="LiveId" clId="{753283EB-EBC0-413C-B840-BF1DF8182372}" dt="2021-03-30T10:16:29.204" v="3950" actId="165"/>
          <ac:grpSpMkLst>
            <pc:docMk/>
            <pc:sldMk cId="371294846" sldId="281"/>
            <ac:grpSpMk id="16" creationId="{C7B44038-3DD9-4C45-B5C7-199BDC9C65DC}"/>
          </ac:grpSpMkLst>
        </pc:grpChg>
        <pc:cxnChg chg="mod topLvl">
          <ac:chgData name="Frederick King" userId="bb732f183fe92d5e" providerId="LiveId" clId="{753283EB-EBC0-413C-B840-BF1DF8182372}" dt="2021-03-30T10:16:54.962" v="3970" actId="14100"/>
          <ac:cxnSpMkLst>
            <pc:docMk/>
            <pc:sldMk cId="371294846" sldId="281"/>
            <ac:cxnSpMk id="18" creationId="{E5AC3270-8429-4B44-B28A-7204C88EE77A}"/>
          </ac:cxnSpMkLst>
        </pc:cxnChg>
        <pc:cxnChg chg="mod topLvl">
          <ac:chgData name="Frederick King" userId="bb732f183fe92d5e" providerId="LiveId" clId="{753283EB-EBC0-413C-B840-BF1DF8182372}" dt="2021-03-30T10:17:07.475" v="3972" actId="552"/>
          <ac:cxnSpMkLst>
            <pc:docMk/>
            <pc:sldMk cId="371294846" sldId="281"/>
            <ac:cxnSpMk id="20" creationId="{76E19607-D8AD-43B0-8F8A-01E94DA1EA88}"/>
          </ac:cxnSpMkLst>
        </pc:cxnChg>
        <pc:cxnChg chg="del mod topLvl">
          <ac:chgData name="Frederick King" userId="bb732f183fe92d5e" providerId="LiveId" clId="{753283EB-EBC0-413C-B840-BF1DF8182372}" dt="2021-03-30T10:16:31.282" v="3951" actId="478"/>
          <ac:cxnSpMkLst>
            <pc:docMk/>
            <pc:sldMk cId="371294846" sldId="281"/>
            <ac:cxnSpMk id="21" creationId="{583BF0EE-FF02-4058-B39C-122096CD7835}"/>
          </ac:cxnSpMkLst>
        </pc:cxnChg>
      </pc:sldChg>
      <pc:sldChg chg="addSp delSp modSp mod">
        <pc:chgData name="Frederick King" userId="bb732f183fe92d5e" providerId="LiveId" clId="{753283EB-EBC0-413C-B840-BF1DF8182372}" dt="2021-04-21T13:51:47.195" v="21576" actId="208"/>
        <pc:sldMkLst>
          <pc:docMk/>
          <pc:sldMk cId="3311661654" sldId="282"/>
        </pc:sldMkLst>
        <pc:spChg chg="mod ord">
          <ac:chgData name="Frederick King" userId="bb732f183fe92d5e" providerId="LiveId" clId="{753283EB-EBC0-413C-B840-BF1DF8182372}" dt="2021-04-20T09:16:27.680" v="21277" actId="1076"/>
          <ac:spMkLst>
            <pc:docMk/>
            <pc:sldMk cId="3311661654" sldId="282"/>
            <ac:spMk id="2" creationId="{2C72BAFB-38D4-4258-BA15-1CFBBCCB4463}"/>
          </ac:spMkLst>
        </pc:spChg>
        <pc:spChg chg="add del mod ord modVis">
          <ac:chgData name="Frederick King" userId="bb732f183fe92d5e" providerId="LiveId" clId="{753283EB-EBC0-413C-B840-BF1DF8182372}" dt="2021-03-30T13:02:51.089" v="10567"/>
          <ac:spMkLst>
            <pc:docMk/>
            <pc:sldMk cId="3311661654" sldId="282"/>
            <ac:spMk id="3" creationId="{5392A3A2-F993-4DBC-8DC9-459465598315}"/>
          </ac:spMkLst>
        </pc:spChg>
        <pc:spChg chg="add del mod ord modVis">
          <ac:chgData name="Frederick King" userId="bb732f183fe92d5e" providerId="LiveId" clId="{753283EB-EBC0-413C-B840-BF1DF8182372}" dt="2021-03-30T10:19:26.171" v="4417"/>
          <ac:spMkLst>
            <pc:docMk/>
            <pc:sldMk cId="3311661654" sldId="282"/>
            <ac:spMk id="3" creationId="{9B074877-3264-4D5A-A17E-E94DECFF714A}"/>
          </ac:spMkLst>
        </pc:spChg>
        <pc:spChg chg="add del mod">
          <ac:chgData name="Frederick King" userId="bb732f183fe92d5e" providerId="LiveId" clId="{753283EB-EBC0-413C-B840-BF1DF8182372}" dt="2021-04-21T13:51:32.754" v="21574" actId="478"/>
          <ac:spMkLst>
            <pc:docMk/>
            <pc:sldMk cId="3311661654" sldId="282"/>
            <ac:spMk id="4" creationId="{C38EF770-ED86-4B66-85F4-E558E8C96142}"/>
          </ac:spMkLst>
        </pc:spChg>
        <pc:spChg chg="add del mod ord">
          <ac:chgData name="Frederick King" userId="bb732f183fe92d5e" providerId="LiveId" clId="{753283EB-EBC0-413C-B840-BF1DF8182372}" dt="2021-03-30T10:25:56.882" v="4802"/>
          <ac:spMkLst>
            <pc:docMk/>
            <pc:sldMk cId="3311661654" sldId="282"/>
            <ac:spMk id="5" creationId="{77025D18-894F-4E77-A3F1-93144E592B2C}"/>
          </ac:spMkLst>
        </pc:spChg>
        <pc:spChg chg="add del mod ord modVis">
          <ac:chgData name="Frederick King" userId="bb732f183fe92d5e" providerId="LiveId" clId="{753283EB-EBC0-413C-B840-BF1DF8182372}" dt="2021-03-30T10:26:00.320" v="5453"/>
          <ac:spMkLst>
            <pc:docMk/>
            <pc:sldMk cId="3311661654" sldId="282"/>
            <ac:spMk id="6" creationId="{59A84A77-876E-483E-8861-61D720567810}"/>
          </ac:spMkLst>
        </pc:spChg>
        <pc:spChg chg="del mod ord">
          <ac:chgData name="Frederick King" userId="bb732f183fe92d5e" providerId="LiveId" clId="{753283EB-EBC0-413C-B840-BF1DF8182372}" dt="2021-03-30T10:28:41.522" v="5983" actId="478"/>
          <ac:spMkLst>
            <pc:docMk/>
            <pc:sldMk cId="3311661654" sldId="282"/>
            <ac:spMk id="7" creationId="{D99BE1AE-67DC-4F88-B15A-443CBAF5C790}"/>
          </ac:spMkLst>
        </pc:spChg>
        <pc:spChg chg="add mod">
          <ac:chgData name="Frederick King" userId="bb732f183fe92d5e" providerId="LiveId" clId="{753283EB-EBC0-413C-B840-BF1DF8182372}" dt="2021-03-30T13:09:49.386" v="15675"/>
          <ac:spMkLst>
            <pc:docMk/>
            <pc:sldMk cId="3311661654" sldId="282"/>
            <ac:spMk id="8" creationId="{27DE109F-A7FA-400D-963D-4A28597731CC}"/>
          </ac:spMkLst>
        </pc:spChg>
        <pc:spChg chg="add mod">
          <ac:chgData name="Frederick King" userId="bb732f183fe92d5e" providerId="LiveId" clId="{753283EB-EBC0-413C-B840-BF1DF8182372}" dt="2021-03-30T13:09:49.386" v="15674"/>
          <ac:spMkLst>
            <pc:docMk/>
            <pc:sldMk cId="3311661654" sldId="282"/>
            <ac:spMk id="9" creationId="{A961F357-407E-48D0-A64F-BACFBE029D87}"/>
          </ac:spMkLst>
        </pc:spChg>
        <pc:spChg chg="mod">
          <ac:chgData name="Frederick King" userId="bb732f183fe92d5e" providerId="LiveId" clId="{753283EB-EBC0-413C-B840-BF1DF8182372}" dt="2021-03-30T13:09:49.370" v="15609"/>
          <ac:spMkLst>
            <pc:docMk/>
            <pc:sldMk cId="3311661654" sldId="282"/>
            <ac:spMk id="10" creationId="{B2B12467-E2CF-4618-8B9B-3D3C89097693}"/>
          </ac:spMkLst>
        </pc:spChg>
        <pc:spChg chg="mod">
          <ac:chgData name="Frederick King" userId="bb732f183fe92d5e" providerId="LiveId" clId="{753283EB-EBC0-413C-B840-BF1DF8182372}" dt="2021-03-30T13:09:49.370" v="15611"/>
          <ac:spMkLst>
            <pc:docMk/>
            <pc:sldMk cId="3311661654" sldId="282"/>
            <ac:spMk id="12" creationId="{6BC6B75F-5167-4CCC-B67C-10A67E78901E}"/>
          </ac:spMkLst>
        </pc:spChg>
        <pc:spChg chg="mod">
          <ac:chgData name="Frederick King" userId="bb732f183fe92d5e" providerId="LiveId" clId="{753283EB-EBC0-413C-B840-BF1DF8182372}" dt="2021-03-30T13:09:49.370" v="15613"/>
          <ac:spMkLst>
            <pc:docMk/>
            <pc:sldMk cId="3311661654" sldId="282"/>
            <ac:spMk id="13" creationId="{EB5B9E14-C06D-4CE2-969A-11EA2AA61AFF}"/>
          </ac:spMkLst>
        </pc:spChg>
        <pc:spChg chg="mod">
          <ac:chgData name="Frederick King" userId="bb732f183fe92d5e" providerId="LiveId" clId="{753283EB-EBC0-413C-B840-BF1DF8182372}" dt="2021-03-30T13:09:49.370" v="15604"/>
          <ac:spMkLst>
            <pc:docMk/>
            <pc:sldMk cId="3311661654" sldId="282"/>
            <ac:spMk id="14" creationId="{C48851EE-CB2A-4D13-8A6C-9458FCF3BB97}"/>
          </ac:spMkLst>
        </pc:spChg>
        <pc:spChg chg="mod">
          <ac:chgData name="Frederick King" userId="bb732f183fe92d5e" providerId="LiveId" clId="{753283EB-EBC0-413C-B840-BF1DF8182372}" dt="2021-03-30T13:09:49.370" v="15616"/>
          <ac:spMkLst>
            <pc:docMk/>
            <pc:sldMk cId="3311661654" sldId="282"/>
            <ac:spMk id="15" creationId="{D96D663F-B1ED-477E-8D6D-B626FC1E1FFB}"/>
          </ac:spMkLst>
        </pc:spChg>
        <pc:spChg chg="mod">
          <ac:chgData name="Frederick King" userId="bb732f183fe92d5e" providerId="LiveId" clId="{753283EB-EBC0-413C-B840-BF1DF8182372}" dt="2021-03-30T13:09:49.370" v="15602"/>
          <ac:spMkLst>
            <pc:docMk/>
            <pc:sldMk cId="3311661654" sldId="282"/>
            <ac:spMk id="16" creationId="{246AECA5-5AA3-4F93-8285-CFF3EBD5518D}"/>
          </ac:spMkLst>
        </pc:spChg>
        <pc:spChg chg="mod">
          <ac:chgData name="Frederick King" userId="bb732f183fe92d5e" providerId="LiveId" clId="{753283EB-EBC0-413C-B840-BF1DF8182372}" dt="2021-03-30T13:09:49.370" v="15607"/>
          <ac:spMkLst>
            <pc:docMk/>
            <pc:sldMk cId="3311661654" sldId="282"/>
            <ac:spMk id="17" creationId="{53E48679-E310-4671-8B50-924D97A9F850}"/>
          </ac:spMkLst>
        </pc:spChg>
        <pc:spChg chg="mod ord">
          <ac:chgData name="Frederick King" userId="bb732f183fe92d5e" providerId="LiveId" clId="{753283EB-EBC0-413C-B840-BF1DF8182372}" dt="2021-03-30T13:09:49.370" v="15615"/>
          <ac:spMkLst>
            <pc:docMk/>
            <pc:sldMk cId="3311661654" sldId="282"/>
            <ac:spMk id="18" creationId="{BF08E376-DB4A-4448-8BE3-098EC9D62149}"/>
          </ac:spMkLst>
        </pc:spChg>
        <pc:spChg chg="del">
          <ac:chgData name="Frederick King" userId="bb732f183fe92d5e" providerId="LiveId" clId="{753283EB-EBC0-413C-B840-BF1DF8182372}" dt="2021-03-30T08:24:05.204" v="3753" actId="478"/>
          <ac:spMkLst>
            <pc:docMk/>
            <pc:sldMk cId="3311661654" sldId="282"/>
            <ac:spMk id="19" creationId="{8D888209-7751-44A7-B3BA-BA6313283FF3}"/>
          </ac:spMkLst>
        </pc:spChg>
        <pc:spChg chg="mod">
          <ac:chgData name="Frederick King" userId="bb732f183fe92d5e" providerId="LiveId" clId="{753283EB-EBC0-413C-B840-BF1DF8182372}" dt="2021-03-30T13:09:49.370" v="15606"/>
          <ac:spMkLst>
            <pc:docMk/>
            <pc:sldMk cId="3311661654" sldId="282"/>
            <ac:spMk id="20" creationId="{92FE94BD-331E-46C9-8447-9957C39AA768}"/>
          </ac:spMkLst>
        </pc:spChg>
        <pc:spChg chg="mod">
          <ac:chgData name="Frederick King" userId="bb732f183fe92d5e" providerId="LiveId" clId="{753283EB-EBC0-413C-B840-BF1DF8182372}" dt="2021-03-30T13:09:49.370" v="15605"/>
          <ac:spMkLst>
            <pc:docMk/>
            <pc:sldMk cId="3311661654" sldId="282"/>
            <ac:spMk id="21" creationId="{85B7EB05-D135-46AA-BD22-9398CECD5F8C}"/>
          </ac:spMkLst>
        </pc:spChg>
        <pc:spChg chg="mod">
          <ac:chgData name="Frederick King" userId="bb732f183fe92d5e" providerId="LiveId" clId="{753283EB-EBC0-413C-B840-BF1DF8182372}" dt="2021-03-30T13:09:49.370" v="15603"/>
          <ac:spMkLst>
            <pc:docMk/>
            <pc:sldMk cId="3311661654" sldId="282"/>
            <ac:spMk id="22" creationId="{DF3F0177-EC75-44E9-9D4F-0AE18C5EFE56}"/>
          </ac:spMkLst>
        </pc:spChg>
        <pc:spChg chg="mod">
          <ac:chgData name="Frederick King" userId="bb732f183fe92d5e" providerId="LiveId" clId="{753283EB-EBC0-413C-B840-BF1DF8182372}" dt="2021-03-30T13:09:49.370" v="15612"/>
          <ac:spMkLst>
            <pc:docMk/>
            <pc:sldMk cId="3311661654" sldId="282"/>
            <ac:spMk id="23" creationId="{7B58283D-D9EE-4AD1-835F-384EB2BE05C4}"/>
          </ac:spMkLst>
        </pc:spChg>
        <pc:spChg chg="mod">
          <ac:chgData name="Frederick King" userId="bb732f183fe92d5e" providerId="LiveId" clId="{753283EB-EBC0-413C-B840-BF1DF8182372}" dt="2021-03-30T13:09:49.370" v="15610"/>
          <ac:spMkLst>
            <pc:docMk/>
            <pc:sldMk cId="3311661654" sldId="282"/>
            <ac:spMk id="24" creationId="{8778D45C-531B-4143-AA09-1E71A06BFBC3}"/>
          </ac:spMkLst>
        </pc:spChg>
        <pc:spChg chg="mod">
          <ac:chgData name="Frederick King" userId="bb732f183fe92d5e" providerId="LiveId" clId="{753283EB-EBC0-413C-B840-BF1DF8182372}" dt="2021-03-30T13:09:49.370" v="15608"/>
          <ac:spMkLst>
            <pc:docMk/>
            <pc:sldMk cId="3311661654" sldId="282"/>
            <ac:spMk id="25" creationId="{6D818E80-2D61-4BB3-B798-26E07B07EE65}"/>
          </ac:spMkLst>
        </pc:spChg>
        <pc:spChg chg="del mod ord">
          <ac:chgData name="Frederick King" userId="bb732f183fe92d5e" providerId="LiveId" clId="{753283EB-EBC0-413C-B840-BF1DF8182372}" dt="2021-03-30T13:05:17.670" v="13786"/>
          <ac:spMkLst>
            <pc:docMk/>
            <pc:sldMk cId="3311661654" sldId="282"/>
            <ac:spMk id="26" creationId="{F66B6A82-13C7-4433-8C96-1E272825063E}"/>
          </ac:spMkLst>
        </pc:spChg>
        <pc:spChg chg="del">
          <ac:chgData name="Frederick King" userId="bb732f183fe92d5e" providerId="LiveId" clId="{753283EB-EBC0-413C-B840-BF1DF8182372}" dt="2021-03-30T10:19:25.937" v="4110"/>
          <ac:spMkLst>
            <pc:docMk/>
            <pc:sldMk cId="3311661654" sldId="282"/>
            <ac:spMk id="27" creationId="{8A6443E5-7B6C-4F4C-B82B-CCFA603F35E0}"/>
          </ac:spMkLst>
        </pc:spChg>
        <pc:spChg chg="del">
          <ac:chgData name="Frederick King" userId="bb732f183fe92d5e" providerId="LiveId" clId="{753283EB-EBC0-413C-B840-BF1DF8182372}" dt="2021-03-30T10:19:25.937" v="4109"/>
          <ac:spMkLst>
            <pc:docMk/>
            <pc:sldMk cId="3311661654" sldId="282"/>
            <ac:spMk id="28" creationId="{19D13DD6-5208-4D36-A1F9-DC455FE597D4}"/>
          </ac:spMkLst>
        </pc:spChg>
        <pc:spChg chg="del">
          <ac:chgData name="Frederick King" userId="bb732f183fe92d5e" providerId="LiveId" clId="{753283EB-EBC0-413C-B840-BF1DF8182372}" dt="2021-03-30T10:19:25.937" v="4108"/>
          <ac:spMkLst>
            <pc:docMk/>
            <pc:sldMk cId="3311661654" sldId="282"/>
            <ac:spMk id="29" creationId="{529E3197-C110-4B1A-AC9D-F7D9CD13AFF5}"/>
          </ac:spMkLst>
        </pc:spChg>
        <pc:spChg chg="del">
          <ac:chgData name="Frederick King" userId="bb732f183fe92d5e" providerId="LiveId" clId="{753283EB-EBC0-413C-B840-BF1DF8182372}" dt="2021-03-30T10:19:25.937" v="4107"/>
          <ac:spMkLst>
            <pc:docMk/>
            <pc:sldMk cId="3311661654" sldId="282"/>
            <ac:spMk id="30" creationId="{5B30A230-CC19-40A7-9908-BACEA4D998B5}"/>
          </ac:spMkLst>
        </pc:spChg>
        <pc:spChg chg="del mod">
          <ac:chgData name="Frederick King" userId="bb732f183fe92d5e" providerId="LiveId" clId="{753283EB-EBC0-413C-B840-BF1DF8182372}" dt="2021-03-30T13:05:17.670" v="13784"/>
          <ac:spMkLst>
            <pc:docMk/>
            <pc:sldMk cId="3311661654" sldId="282"/>
            <ac:spMk id="31" creationId="{9D5AF1A0-3B87-4444-8E91-1F175ED7A4AC}"/>
          </ac:spMkLst>
        </pc:spChg>
        <pc:spChg chg="del mod">
          <ac:chgData name="Frederick King" userId="bb732f183fe92d5e" providerId="LiveId" clId="{753283EB-EBC0-413C-B840-BF1DF8182372}" dt="2021-03-30T13:05:17.670" v="13783"/>
          <ac:spMkLst>
            <pc:docMk/>
            <pc:sldMk cId="3311661654" sldId="282"/>
            <ac:spMk id="32" creationId="{728E8D2A-65A7-4083-BA80-2DA088E8C9E7}"/>
          </ac:spMkLst>
        </pc:spChg>
        <pc:spChg chg="del mod">
          <ac:chgData name="Frederick King" userId="bb732f183fe92d5e" providerId="LiveId" clId="{753283EB-EBC0-413C-B840-BF1DF8182372}" dt="2021-03-30T13:05:17.670" v="13782"/>
          <ac:spMkLst>
            <pc:docMk/>
            <pc:sldMk cId="3311661654" sldId="282"/>
            <ac:spMk id="33" creationId="{8E571E7E-7447-4687-9252-E6C647C94920}"/>
          </ac:spMkLst>
        </pc:spChg>
        <pc:spChg chg="del mod">
          <ac:chgData name="Frederick King" userId="bb732f183fe92d5e" providerId="LiveId" clId="{753283EB-EBC0-413C-B840-BF1DF8182372}" dt="2021-03-30T13:05:17.670" v="13781"/>
          <ac:spMkLst>
            <pc:docMk/>
            <pc:sldMk cId="3311661654" sldId="282"/>
            <ac:spMk id="34" creationId="{AD0DEA86-55B1-47BD-AC5A-FD11AEEA0801}"/>
          </ac:spMkLst>
        </pc:spChg>
        <pc:spChg chg="del mod">
          <ac:chgData name="Frederick King" userId="bb732f183fe92d5e" providerId="LiveId" clId="{753283EB-EBC0-413C-B840-BF1DF8182372}" dt="2021-03-30T13:05:17.670" v="13780"/>
          <ac:spMkLst>
            <pc:docMk/>
            <pc:sldMk cId="3311661654" sldId="282"/>
            <ac:spMk id="35" creationId="{87AFBEE4-10E8-4E5A-9027-5BD186049D7E}"/>
          </ac:spMkLst>
        </pc:spChg>
        <pc:spChg chg="del mod">
          <ac:chgData name="Frederick King" userId="bb732f183fe92d5e" providerId="LiveId" clId="{753283EB-EBC0-413C-B840-BF1DF8182372}" dt="2021-03-30T13:05:17.670" v="13779"/>
          <ac:spMkLst>
            <pc:docMk/>
            <pc:sldMk cId="3311661654" sldId="282"/>
            <ac:spMk id="36" creationId="{98FA63C7-F76D-4531-BA52-FE8BC64E759B}"/>
          </ac:spMkLst>
        </pc:spChg>
        <pc:spChg chg="del mod">
          <ac:chgData name="Frederick King" userId="bb732f183fe92d5e" providerId="LiveId" clId="{753283EB-EBC0-413C-B840-BF1DF8182372}" dt="2021-03-30T13:05:17.670" v="13778"/>
          <ac:spMkLst>
            <pc:docMk/>
            <pc:sldMk cId="3311661654" sldId="282"/>
            <ac:spMk id="37" creationId="{41A9CA9B-1580-4026-8F36-266D66822820}"/>
          </ac:spMkLst>
        </pc:spChg>
        <pc:spChg chg="del mod">
          <ac:chgData name="Frederick King" userId="bb732f183fe92d5e" providerId="LiveId" clId="{753283EB-EBC0-413C-B840-BF1DF8182372}" dt="2021-03-30T13:05:17.670" v="13777"/>
          <ac:spMkLst>
            <pc:docMk/>
            <pc:sldMk cId="3311661654" sldId="282"/>
            <ac:spMk id="38" creationId="{6AE9A8CF-2DE6-4EF6-BF02-33DABD75CF27}"/>
          </ac:spMkLst>
        </pc:spChg>
        <pc:spChg chg="mod ord">
          <ac:chgData name="Frederick King" userId="bb732f183fe92d5e" providerId="LiveId" clId="{753283EB-EBC0-413C-B840-BF1DF8182372}" dt="2021-04-21T13:51:47.195" v="21576" actId="208"/>
          <ac:spMkLst>
            <pc:docMk/>
            <pc:sldMk cId="3311661654" sldId="282"/>
            <ac:spMk id="57" creationId="{CD5495C3-6362-43C4-BC61-11762CCEA2D0}"/>
          </ac:spMkLst>
        </pc:spChg>
        <pc:spChg chg="mod ord">
          <ac:chgData name="Frederick King" userId="bb732f183fe92d5e" providerId="LiveId" clId="{753283EB-EBC0-413C-B840-BF1DF8182372}" dt="2021-04-21T13:51:47.195" v="21576" actId="208"/>
          <ac:spMkLst>
            <pc:docMk/>
            <pc:sldMk cId="3311661654" sldId="282"/>
            <ac:spMk id="58" creationId="{9A5AB7AE-02CC-4061-9443-F8D815F4748B}"/>
          </ac:spMkLst>
        </pc:spChg>
        <pc:spChg chg="mod ord">
          <ac:chgData name="Frederick King" userId="bb732f183fe92d5e" providerId="LiveId" clId="{753283EB-EBC0-413C-B840-BF1DF8182372}" dt="2021-04-21T13:51:47.195" v="21576" actId="208"/>
          <ac:spMkLst>
            <pc:docMk/>
            <pc:sldMk cId="3311661654" sldId="282"/>
            <ac:spMk id="59" creationId="{42E66FDB-D72F-45C5-97BD-032037E05195}"/>
          </ac:spMkLst>
        </pc:spChg>
        <pc:spChg chg="mod ord">
          <ac:chgData name="Frederick King" userId="bb732f183fe92d5e" providerId="LiveId" clId="{753283EB-EBC0-413C-B840-BF1DF8182372}" dt="2021-04-21T13:51:47.195" v="21576" actId="208"/>
          <ac:spMkLst>
            <pc:docMk/>
            <pc:sldMk cId="3311661654" sldId="282"/>
            <ac:spMk id="60" creationId="{A82D05BB-4F38-4A03-81A8-A49217982C94}"/>
          </ac:spMkLst>
        </pc:spChg>
        <pc:spChg chg="mod ord">
          <ac:chgData name="Frederick King" userId="bb732f183fe92d5e" providerId="LiveId" clId="{753283EB-EBC0-413C-B840-BF1DF8182372}" dt="2021-04-21T13:51:47.195" v="21576" actId="208"/>
          <ac:spMkLst>
            <pc:docMk/>
            <pc:sldMk cId="3311661654" sldId="282"/>
            <ac:spMk id="61" creationId="{6FADD1A6-6BEB-4904-A745-9B38AD7EE06E}"/>
          </ac:spMkLst>
        </pc:spChg>
        <pc:spChg chg="mod ord">
          <ac:chgData name="Frederick King" userId="bb732f183fe92d5e" providerId="LiveId" clId="{753283EB-EBC0-413C-B840-BF1DF8182372}" dt="2021-04-21T13:51:47.195" v="21576" actId="208"/>
          <ac:spMkLst>
            <pc:docMk/>
            <pc:sldMk cId="3311661654" sldId="282"/>
            <ac:spMk id="62" creationId="{37A8B11E-5F1B-42A3-8507-162F43F39B36}"/>
          </ac:spMkLst>
        </pc:spChg>
        <pc:spChg chg="mod ord">
          <ac:chgData name="Frederick King" userId="bb732f183fe92d5e" providerId="LiveId" clId="{753283EB-EBC0-413C-B840-BF1DF8182372}" dt="2021-04-21T13:51:47.195" v="21576" actId="208"/>
          <ac:spMkLst>
            <pc:docMk/>
            <pc:sldMk cId="3311661654" sldId="282"/>
            <ac:spMk id="63" creationId="{755A9FBA-4409-432B-AC0D-32F3B569917F}"/>
          </ac:spMkLst>
        </pc:spChg>
        <pc:spChg chg="mod ord">
          <ac:chgData name="Frederick King" userId="bb732f183fe92d5e" providerId="LiveId" clId="{753283EB-EBC0-413C-B840-BF1DF8182372}" dt="2021-04-21T13:51:47.195" v="21576" actId="208"/>
          <ac:spMkLst>
            <pc:docMk/>
            <pc:sldMk cId="3311661654" sldId="282"/>
            <ac:spMk id="64" creationId="{8A6C92EA-0668-4EEE-977B-6C316C76892B}"/>
          </ac:spMkLst>
        </pc:spChg>
        <pc:spChg chg="mod ord">
          <ac:chgData name="Frederick King" userId="bb732f183fe92d5e" providerId="LiveId" clId="{753283EB-EBC0-413C-B840-BF1DF8182372}" dt="2021-04-21T13:51:47.195" v="21576" actId="208"/>
          <ac:spMkLst>
            <pc:docMk/>
            <pc:sldMk cId="3311661654" sldId="282"/>
            <ac:spMk id="65" creationId="{8474416D-370D-4FB4-B9E9-789A8D901D9F}"/>
          </ac:spMkLst>
        </pc:spChg>
        <pc:spChg chg="del mod ord">
          <ac:chgData name="Frederick King" userId="bb732f183fe92d5e" providerId="LiveId" clId="{753283EB-EBC0-413C-B840-BF1DF8182372}" dt="2021-03-30T13:04:54.014" v="13231"/>
          <ac:spMkLst>
            <pc:docMk/>
            <pc:sldMk cId="3311661654" sldId="282"/>
            <ac:spMk id="66" creationId="{9C88AC01-FAC2-4D82-A0E4-9BA059CA5B3E}"/>
          </ac:spMkLst>
        </pc:spChg>
        <pc:spChg chg="mod ord">
          <ac:chgData name="Frederick King" userId="bb732f183fe92d5e" providerId="LiveId" clId="{753283EB-EBC0-413C-B840-BF1DF8182372}" dt="2021-03-30T13:09:49.386" v="15679"/>
          <ac:spMkLst>
            <pc:docMk/>
            <pc:sldMk cId="3311661654" sldId="282"/>
            <ac:spMk id="67" creationId="{BF4DF717-0254-4077-A47B-9E631D4A5FE4}"/>
          </ac:spMkLst>
        </pc:spChg>
        <pc:spChg chg="mod ord">
          <ac:chgData name="Frederick King" userId="bb732f183fe92d5e" providerId="LiveId" clId="{753283EB-EBC0-413C-B840-BF1DF8182372}" dt="2021-03-30T13:09:49.386" v="15681"/>
          <ac:spMkLst>
            <pc:docMk/>
            <pc:sldMk cId="3311661654" sldId="282"/>
            <ac:spMk id="68" creationId="{D12F6564-F3F3-4919-8672-8D2E21088534}"/>
          </ac:spMkLst>
        </pc:spChg>
        <pc:spChg chg="mod ord">
          <ac:chgData name="Frederick King" userId="bb732f183fe92d5e" providerId="LiveId" clId="{753283EB-EBC0-413C-B840-BF1DF8182372}" dt="2021-03-30T13:09:49.386" v="15685"/>
          <ac:spMkLst>
            <pc:docMk/>
            <pc:sldMk cId="3311661654" sldId="282"/>
            <ac:spMk id="69" creationId="{8EB1366D-2C08-46A1-A3C1-B50C0ED335A8}"/>
          </ac:spMkLst>
        </pc:spChg>
        <pc:spChg chg="mod ord">
          <ac:chgData name="Frederick King" userId="bb732f183fe92d5e" providerId="LiveId" clId="{753283EB-EBC0-413C-B840-BF1DF8182372}" dt="2021-03-30T13:09:49.386" v="15687"/>
          <ac:spMkLst>
            <pc:docMk/>
            <pc:sldMk cId="3311661654" sldId="282"/>
            <ac:spMk id="70" creationId="{BBBC7242-E72E-44B8-B10E-935AA549929C}"/>
          </ac:spMkLst>
        </pc:spChg>
        <pc:spChg chg="mod">
          <ac:chgData name="Frederick King" userId="bb732f183fe92d5e" providerId="LiveId" clId="{753283EB-EBC0-413C-B840-BF1DF8182372}" dt="2021-03-30T13:10:12.309" v="16101"/>
          <ac:spMkLst>
            <pc:docMk/>
            <pc:sldMk cId="3311661654" sldId="282"/>
            <ac:spMk id="71" creationId="{282C97EC-E743-4AEA-95F4-FDF56180D22E}"/>
          </ac:spMkLst>
        </pc:spChg>
        <pc:spChg chg="mod">
          <ac:chgData name="Frederick King" userId="bb732f183fe92d5e" providerId="LiveId" clId="{753283EB-EBC0-413C-B840-BF1DF8182372}" dt="2021-03-30T13:10:12.325" v="16116"/>
          <ac:spMkLst>
            <pc:docMk/>
            <pc:sldMk cId="3311661654" sldId="282"/>
            <ac:spMk id="72" creationId="{433C3A1B-E105-4F56-ABEC-F1DFA10ACBE7}"/>
          </ac:spMkLst>
        </pc:spChg>
        <pc:spChg chg="mod">
          <ac:chgData name="Frederick King" userId="bb732f183fe92d5e" providerId="LiveId" clId="{753283EB-EBC0-413C-B840-BF1DF8182372}" dt="2021-03-30T13:10:12.309" v="16100"/>
          <ac:spMkLst>
            <pc:docMk/>
            <pc:sldMk cId="3311661654" sldId="282"/>
            <ac:spMk id="73" creationId="{28217B33-BE4B-4CFA-A58C-956793AE25EB}"/>
          </ac:spMkLst>
        </pc:spChg>
        <pc:spChg chg="mod">
          <ac:chgData name="Frederick King" userId="bb732f183fe92d5e" providerId="LiveId" clId="{753283EB-EBC0-413C-B840-BF1DF8182372}" dt="2021-03-30T13:10:12.309" v="16098"/>
          <ac:spMkLst>
            <pc:docMk/>
            <pc:sldMk cId="3311661654" sldId="282"/>
            <ac:spMk id="74" creationId="{DFF9E783-9305-49E8-B839-984D2C221574}"/>
          </ac:spMkLst>
        </pc:spChg>
        <pc:spChg chg="mod">
          <ac:chgData name="Frederick King" userId="bb732f183fe92d5e" providerId="LiveId" clId="{753283EB-EBC0-413C-B840-BF1DF8182372}" dt="2021-03-30T13:10:12.309" v="16096"/>
          <ac:spMkLst>
            <pc:docMk/>
            <pc:sldMk cId="3311661654" sldId="282"/>
            <ac:spMk id="75" creationId="{A67D77CF-32A0-4F9B-AF28-911F775964A2}"/>
          </ac:spMkLst>
        </pc:spChg>
        <pc:spChg chg="mod">
          <ac:chgData name="Frederick King" userId="bb732f183fe92d5e" providerId="LiveId" clId="{753283EB-EBC0-413C-B840-BF1DF8182372}" dt="2021-03-30T13:10:12.309" v="16104"/>
          <ac:spMkLst>
            <pc:docMk/>
            <pc:sldMk cId="3311661654" sldId="282"/>
            <ac:spMk id="76" creationId="{E1D4704A-9BAF-4C13-A822-579BF4472610}"/>
          </ac:spMkLst>
        </pc:spChg>
        <pc:spChg chg="mod ord">
          <ac:chgData name="Frederick King" userId="bb732f183fe92d5e" providerId="LiveId" clId="{753283EB-EBC0-413C-B840-BF1DF8182372}" dt="2021-03-30T13:10:12.347" v="16130" actId="948"/>
          <ac:spMkLst>
            <pc:docMk/>
            <pc:sldMk cId="3311661654" sldId="282"/>
            <ac:spMk id="77" creationId="{C5F11C95-38CA-4F11-AAB5-33E5003CB9C5}"/>
          </ac:spMkLst>
        </pc:spChg>
        <pc:spChg chg="mod ord">
          <ac:chgData name="Frederick King" userId="bb732f183fe92d5e" providerId="LiveId" clId="{753283EB-EBC0-413C-B840-BF1DF8182372}" dt="2021-03-30T13:10:12.347" v="16129" actId="948"/>
          <ac:spMkLst>
            <pc:docMk/>
            <pc:sldMk cId="3311661654" sldId="282"/>
            <ac:spMk id="78" creationId="{ED52382E-5829-41A8-882E-9B1974DA4051}"/>
          </ac:spMkLst>
        </pc:spChg>
        <pc:spChg chg="mod">
          <ac:chgData name="Frederick King" userId="bb732f183fe92d5e" providerId="LiveId" clId="{753283EB-EBC0-413C-B840-BF1DF8182372}" dt="2021-03-30T13:10:12.325" v="16114"/>
          <ac:spMkLst>
            <pc:docMk/>
            <pc:sldMk cId="3311661654" sldId="282"/>
            <ac:spMk id="79" creationId="{884A4A76-DAF5-466D-A2B4-9A8215252423}"/>
          </ac:spMkLst>
        </pc:spChg>
        <pc:spChg chg="mod">
          <ac:chgData name="Frederick King" userId="bb732f183fe92d5e" providerId="LiveId" clId="{753283EB-EBC0-413C-B840-BF1DF8182372}" dt="2021-03-30T13:10:12.325" v="16110"/>
          <ac:spMkLst>
            <pc:docMk/>
            <pc:sldMk cId="3311661654" sldId="282"/>
            <ac:spMk id="80" creationId="{7C36A80D-521E-484E-86DE-83917F87DB3D}"/>
          </ac:spMkLst>
        </pc:spChg>
        <pc:spChg chg="mod">
          <ac:chgData name="Frederick King" userId="bb732f183fe92d5e" providerId="LiveId" clId="{753283EB-EBC0-413C-B840-BF1DF8182372}" dt="2021-03-30T13:10:12.325" v="16126"/>
          <ac:spMkLst>
            <pc:docMk/>
            <pc:sldMk cId="3311661654" sldId="282"/>
            <ac:spMk id="81" creationId="{9078165A-50A6-4C65-A6D6-14DA1F672A2D}"/>
          </ac:spMkLst>
        </pc:spChg>
        <pc:spChg chg="mod">
          <ac:chgData name="Frederick King" userId="bb732f183fe92d5e" providerId="LiveId" clId="{753283EB-EBC0-413C-B840-BF1DF8182372}" dt="2021-03-30T13:10:12.309" v="16103"/>
          <ac:spMkLst>
            <pc:docMk/>
            <pc:sldMk cId="3311661654" sldId="282"/>
            <ac:spMk id="82" creationId="{87E5F35B-500D-40B6-B9F8-11B9C816A820}"/>
          </ac:spMkLst>
        </pc:spChg>
        <pc:spChg chg="mod">
          <ac:chgData name="Frederick King" userId="bb732f183fe92d5e" providerId="LiveId" clId="{753283EB-EBC0-413C-B840-BF1DF8182372}" dt="2021-03-30T13:10:12.325" v="16122"/>
          <ac:spMkLst>
            <pc:docMk/>
            <pc:sldMk cId="3311661654" sldId="282"/>
            <ac:spMk id="83" creationId="{EB60E1BF-D8EB-45FF-A53C-7D344A5CA67A}"/>
          </ac:spMkLst>
        </pc:spChg>
        <pc:spChg chg="mod">
          <ac:chgData name="Frederick King" userId="bb732f183fe92d5e" providerId="LiveId" clId="{753283EB-EBC0-413C-B840-BF1DF8182372}" dt="2021-03-30T13:10:12.309" v="16105"/>
          <ac:spMkLst>
            <pc:docMk/>
            <pc:sldMk cId="3311661654" sldId="282"/>
            <ac:spMk id="84" creationId="{D1AC0186-FD8A-4DFC-B7C1-24AB8A9744CF}"/>
          </ac:spMkLst>
        </pc:spChg>
        <pc:spChg chg="mod">
          <ac:chgData name="Frederick King" userId="bb732f183fe92d5e" providerId="LiveId" clId="{753283EB-EBC0-413C-B840-BF1DF8182372}" dt="2021-03-30T13:10:12.325" v="16107"/>
          <ac:spMkLst>
            <pc:docMk/>
            <pc:sldMk cId="3311661654" sldId="282"/>
            <ac:spMk id="85" creationId="{0607BABE-88D3-4888-AA7E-DABB6D4BCE39}"/>
          </ac:spMkLst>
        </pc:spChg>
        <pc:spChg chg="mod">
          <ac:chgData name="Frederick King" userId="bb732f183fe92d5e" providerId="LiveId" clId="{753283EB-EBC0-413C-B840-BF1DF8182372}" dt="2021-03-30T13:10:12.325" v="16109"/>
          <ac:spMkLst>
            <pc:docMk/>
            <pc:sldMk cId="3311661654" sldId="282"/>
            <ac:spMk id="86" creationId="{60CAAB35-CE12-46DB-BFC1-E1F79BB57BD1}"/>
          </ac:spMkLst>
        </pc:spChg>
        <pc:spChg chg="mod">
          <ac:chgData name="Frederick King" userId="bb732f183fe92d5e" providerId="LiveId" clId="{753283EB-EBC0-413C-B840-BF1DF8182372}" dt="2021-03-30T13:10:12.325" v="16111"/>
          <ac:spMkLst>
            <pc:docMk/>
            <pc:sldMk cId="3311661654" sldId="282"/>
            <ac:spMk id="87" creationId="{471EF7B8-9BDC-44F2-8E41-BC53C43DC003}"/>
          </ac:spMkLst>
        </pc:spChg>
        <pc:spChg chg="mod">
          <ac:chgData name="Frederick King" userId="bb732f183fe92d5e" providerId="LiveId" clId="{753283EB-EBC0-413C-B840-BF1DF8182372}" dt="2021-03-30T13:10:12.325" v="16113"/>
          <ac:spMkLst>
            <pc:docMk/>
            <pc:sldMk cId="3311661654" sldId="282"/>
            <ac:spMk id="88" creationId="{57D97364-54FF-4677-989E-EF23EF00B84D}"/>
          </ac:spMkLst>
        </pc:spChg>
        <pc:spChg chg="mod">
          <ac:chgData name="Frederick King" userId="bb732f183fe92d5e" providerId="LiveId" clId="{753283EB-EBC0-413C-B840-BF1DF8182372}" dt="2021-03-30T13:10:12.325" v="16115"/>
          <ac:spMkLst>
            <pc:docMk/>
            <pc:sldMk cId="3311661654" sldId="282"/>
            <ac:spMk id="89" creationId="{366342D2-6994-412B-917B-249713A581BF}"/>
          </ac:spMkLst>
        </pc:spChg>
        <pc:spChg chg="mod">
          <ac:chgData name="Frederick King" userId="bb732f183fe92d5e" providerId="LiveId" clId="{753283EB-EBC0-413C-B840-BF1DF8182372}" dt="2021-03-30T13:10:12.325" v="16117"/>
          <ac:spMkLst>
            <pc:docMk/>
            <pc:sldMk cId="3311661654" sldId="282"/>
            <ac:spMk id="90" creationId="{A68C1805-8169-4C44-B6A4-F0A56ED7DD00}"/>
          </ac:spMkLst>
        </pc:spChg>
        <pc:spChg chg="mod">
          <ac:chgData name="Frederick King" userId="bb732f183fe92d5e" providerId="LiveId" clId="{753283EB-EBC0-413C-B840-BF1DF8182372}" dt="2021-03-30T13:10:12.325" v="16119"/>
          <ac:spMkLst>
            <pc:docMk/>
            <pc:sldMk cId="3311661654" sldId="282"/>
            <ac:spMk id="91" creationId="{7869FB36-B0B5-4160-A6B2-1E229D8BF1F3}"/>
          </ac:spMkLst>
        </pc:spChg>
        <pc:spChg chg="mod">
          <ac:chgData name="Frederick King" userId="bb732f183fe92d5e" providerId="LiveId" clId="{753283EB-EBC0-413C-B840-BF1DF8182372}" dt="2021-03-30T13:10:12.325" v="16121"/>
          <ac:spMkLst>
            <pc:docMk/>
            <pc:sldMk cId="3311661654" sldId="282"/>
            <ac:spMk id="92" creationId="{094BA4A4-1FD7-4857-A6C7-6E8D1C21CE96}"/>
          </ac:spMkLst>
        </pc:spChg>
        <pc:spChg chg="mod">
          <ac:chgData name="Frederick King" userId="bb732f183fe92d5e" providerId="LiveId" clId="{753283EB-EBC0-413C-B840-BF1DF8182372}" dt="2021-03-30T13:10:12.325" v="16123"/>
          <ac:spMkLst>
            <pc:docMk/>
            <pc:sldMk cId="3311661654" sldId="282"/>
            <ac:spMk id="93" creationId="{CC3FB952-A098-4832-9939-DB5F72CD58E5}"/>
          </ac:spMkLst>
        </pc:spChg>
        <pc:spChg chg="mod">
          <ac:chgData name="Frederick King" userId="bb732f183fe92d5e" providerId="LiveId" clId="{753283EB-EBC0-413C-B840-BF1DF8182372}" dt="2021-03-30T13:10:12.325" v="16127"/>
          <ac:spMkLst>
            <pc:docMk/>
            <pc:sldMk cId="3311661654" sldId="282"/>
            <ac:spMk id="94" creationId="{A7F10E17-C9EF-4E0A-B84F-655BA3088603}"/>
          </ac:spMkLst>
        </pc:spChg>
        <pc:spChg chg="mod">
          <ac:chgData name="Frederick King" userId="bb732f183fe92d5e" providerId="LiveId" clId="{753283EB-EBC0-413C-B840-BF1DF8182372}" dt="2021-03-30T13:10:12.309" v="16102"/>
          <ac:spMkLst>
            <pc:docMk/>
            <pc:sldMk cId="3311661654" sldId="282"/>
            <ac:spMk id="95" creationId="{459267A8-FF3B-432B-8886-58D32F92555C}"/>
          </ac:spMkLst>
        </pc:spChg>
        <pc:spChg chg="mod ord">
          <ac:chgData name="Frederick King" userId="bb732f183fe92d5e" providerId="LiveId" clId="{753283EB-EBC0-413C-B840-BF1DF8182372}" dt="2021-03-30T13:10:12.347" v="16134" actId="948"/>
          <ac:spMkLst>
            <pc:docMk/>
            <pc:sldMk cId="3311661654" sldId="282"/>
            <ac:spMk id="96" creationId="{DFD53D12-314A-47CF-9EF8-295E790E5012}"/>
          </ac:spMkLst>
        </pc:spChg>
        <pc:spChg chg="mod">
          <ac:chgData name="Frederick King" userId="bb732f183fe92d5e" providerId="LiveId" clId="{753283EB-EBC0-413C-B840-BF1DF8182372}" dt="2021-03-30T13:10:12.309" v="16097"/>
          <ac:spMkLst>
            <pc:docMk/>
            <pc:sldMk cId="3311661654" sldId="282"/>
            <ac:spMk id="97" creationId="{2689146F-A70A-471B-9D84-1EB557C0B809}"/>
          </ac:spMkLst>
        </pc:spChg>
        <pc:spChg chg="del mod ord">
          <ac:chgData name="Frederick King" userId="bb732f183fe92d5e" providerId="LiveId" clId="{753283EB-EBC0-413C-B840-BF1DF8182372}" dt="2021-03-30T13:04:54.014" v="13229"/>
          <ac:spMkLst>
            <pc:docMk/>
            <pc:sldMk cId="3311661654" sldId="282"/>
            <ac:spMk id="98" creationId="{66B05058-87B7-4848-A369-8C5D599CD957}"/>
          </ac:spMkLst>
        </pc:spChg>
        <pc:spChg chg="mod">
          <ac:chgData name="Frederick King" userId="bb732f183fe92d5e" providerId="LiveId" clId="{753283EB-EBC0-413C-B840-BF1DF8182372}" dt="2021-03-30T13:10:12.309" v="16099"/>
          <ac:spMkLst>
            <pc:docMk/>
            <pc:sldMk cId="3311661654" sldId="282"/>
            <ac:spMk id="99" creationId="{6B2D4F4C-F7A1-4966-84EB-6C6187AA2957}"/>
          </ac:spMkLst>
        </pc:spChg>
        <pc:spChg chg="mod">
          <ac:chgData name="Frederick King" userId="bb732f183fe92d5e" providerId="LiveId" clId="{753283EB-EBC0-413C-B840-BF1DF8182372}" dt="2021-03-30T13:10:12.325" v="16120"/>
          <ac:spMkLst>
            <pc:docMk/>
            <pc:sldMk cId="3311661654" sldId="282"/>
            <ac:spMk id="100" creationId="{923FB8B0-C405-46C1-A596-3447E834EC85}"/>
          </ac:spMkLst>
        </pc:spChg>
        <pc:spChg chg="mod">
          <ac:chgData name="Frederick King" userId="bb732f183fe92d5e" providerId="LiveId" clId="{753283EB-EBC0-413C-B840-BF1DF8182372}" dt="2021-03-30T13:10:12.325" v="16118"/>
          <ac:spMkLst>
            <pc:docMk/>
            <pc:sldMk cId="3311661654" sldId="282"/>
            <ac:spMk id="101" creationId="{7634D66E-383B-4F91-92E5-AA92483898A7}"/>
          </ac:spMkLst>
        </pc:spChg>
        <pc:spChg chg="mod">
          <ac:chgData name="Frederick King" userId="bb732f183fe92d5e" providerId="LiveId" clId="{753283EB-EBC0-413C-B840-BF1DF8182372}" dt="2021-03-30T13:10:12.325" v="16112"/>
          <ac:spMkLst>
            <pc:docMk/>
            <pc:sldMk cId="3311661654" sldId="282"/>
            <ac:spMk id="102" creationId="{624DEE4C-E43E-4E1D-BCF4-50D12BDEDC0F}"/>
          </ac:spMkLst>
        </pc:spChg>
        <pc:spChg chg="mod">
          <ac:chgData name="Frederick King" userId="bb732f183fe92d5e" providerId="LiveId" clId="{753283EB-EBC0-413C-B840-BF1DF8182372}" dt="2021-03-30T13:10:12.325" v="16108"/>
          <ac:spMkLst>
            <pc:docMk/>
            <pc:sldMk cId="3311661654" sldId="282"/>
            <ac:spMk id="103" creationId="{F9316DD7-EE02-4429-A81A-EDE26E4C84F6}"/>
          </ac:spMkLst>
        </pc:spChg>
        <pc:spChg chg="mod">
          <ac:chgData name="Frederick King" userId="bb732f183fe92d5e" providerId="LiveId" clId="{753283EB-EBC0-413C-B840-BF1DF8182372}" dt="2021-03-30T13:10:12.325" v="16106"/>
          <ac:spMkLst>
            <pc:docMk/>
            <pc:sldMk cId="3311661654" sldId="282"/>
            <ac:spMk id="104" creationId="{75C45D6F-33C0-4027-BE89-BB29FE996F30}"/>
          </ac:spMkLst>
        </pc:spChg>
        <pc:spChg chg="mod ord">
          <ac:chgData name="Frederick King" userId="bb732f183fe92d5e" providerId="LiveId" clId="{753283EB-EBC0-413C-B840-BF1DF8182372}" dt="2021-03-30T13:10:12.347" v="16133" actId="948"/>
          <ac:spMkLst>
            <pc:docMk/>
            <pc:sldMk cId="3311661654" sldId="282"/>
            <ac:spMk id="105" creationId="{1EBF8D37-349A-44E3-BFF2-EA13F5DD8620}"/>
          </ac:spMkLst>
        </pc:spChg>
        <pc:spChg chg="mod">
          <ac:chgData name="Frederick King" userId="bb732f183fe92d5e" providerId="LiveId" clId="{753283EB-EBC0-413C-B840-BF1DF8182372}" dt="2021-03-30T13:10:12.325" v="16124"/>
          <ac:spMkLst>
            <pc:docMk/>
            <pc:sldMk cId="3311661654" sldId="282"/>
            <ac:spMk id="106" creationId="{DA2BD129-928D-48A2-9886-879E4F2987FD}"/>
          </ac:spMkLst>
        </pc:spChg>
        <pc:spChg chg="mod">
          <ac:chgData name="Frederick King" userId="bb732f183fe92d5e" providerId="LiveId" clId="{753283EB-EBC0-413C-B840-BF1DF8182372}" dt="2021-03-30T13:10:12.325" v="16125"/>
          <ac:spMkLst>
            <pc:docMk/>
            <pc:sldMk cId="3311661654" sldId="282"/>
            <ac:spMk id="107" creationId="{E4BC1AEE-8EF2-4059-B47B-8CC712A24F93}"/>
          </ac:spMkLst>
        </pc:spChg>
        <pc:spChg chg="add mod ord">
          <ac:chgData name="Frederick King" userId="bb732f183fe92d5e" providerId="LiveId" clId="{753283EB-EBC0-413C-B840-BF1DF8182372}" dt="2021-03-30T13:09:49.401" v="15741"/>
          <ac:spMkLst>
            <pc:docMk/>
            <pc:sldMk cId="3311661654" sldId="282"/>
            <ac:spMk id="108" creationId="{1769E7D4-8F04-4EF0-BD3F-3F9ADA5ED805}"/>
          </ac:spMkLst>
        </pc:spChg>
        <pc:spChg chg="add del mod">
          <ac:chgData name="Frederick King" userId="bb732f183fe92d5e" providerId="LiveId" clId="{753283EB-EBC0-413C-B840-BF1DF8182372}" dt="2021-03-29T13:51:02.632" v="983" actId="478"/>
          <ac:spMkLst>
            <pc:docMk/>
            <pc:sldMk cId="3311661654" sldId="282"/>
            <ac:spMk id="108" creationId="{8B8E2C7B-C999-465D-8E14-E2B6AC9CCB18}"/>
          </ac:spMkLst>
        </pc:spChg>
        <pc:spChg chg="add del mod ord">
          <ac:chgData name="Frederick King" userId="bb732f183fe92d5e" providerId="LiveId" clId="{753283EB-EBC0-413C-B840-BF1DF8182372}" dt="2021-03-30T13:24:25.118" v="16998" actId="478"/>
          <ac:spMkLst>
            <pc:docMk/>
            <pc:sldMk cId="3311661654" sldId="282"/>
            <ac:spMk id="109" creationId="{F996DCB2-4FF3-4DB8-BEEE-D45A6B7F4C48}"/>
          </ac:spMkLst>
        </pc:spChg>
        <pc:spChg chg="add mod ord">
          <ac:chgData name="Frederick King" userId="bb732f183fe92d5e" providerId="LiveId" clId="{753283EB-EBC0-413C-B840-BF1DF8182372}" dt="2021-03-30T13:10:12.347" v="16128" actId="948"/>
          <ac:spMkLst>
            <pc:docMk/>
            <pc:sldMk cId="3311661654" sldId="282"/>
            <ac:spMk id="110" creationId="{1973DDBE-A92E-439E-86BC-3EBA4652597D}"/>
          </ac:spMkLst>
        </pc:spChg>
        <pc:spChg chg="add mod">
          <ac:chgData name="Frederick King" userId="bb732f183fe92d5e" providerId="LiveId" clId="{753283EB-EBC0-413C-B840-BF1DF8182372}" dt="2021-03-30T13:09:49.370" v="15617"/>
          <ac:spMkLst>
            <pc:docMk/>
            <pc:sldMk cId="3311661654" sldId="282"/>
            <ac:spMk id="111" creationId="{B49008E2-9B14-4CD2-81BE-47B5B531A725}"/>
          </ac:spMkLst>
        </pc:spChg>
        <pc:spChg chg="add del mod">
          <ac:chgData name="Frederick King" userId="bb732f183fe92d5e" providerId="LiveId" clId="{753283EB-EBC0-413C-B840-BF1DF8182372}" dt="2021-03-30T13:05:21.627" v="14166"/>
          <ac:spMkLst>
            <pc:docMk/>
            <pc:sldMk cId="3311661654" sldId="282"/>
            <ac:spMk id="112" creationId="{31579076-B95A-466D-A888-C8C22EFC031E}"/>
          </ac:spMkLst>
        </pc:spChg>
        <pc:spChg chg="add del mod modVis">
          <ac:chgData name="Frederick King" userId="bb732f183fe92d5e" providerId="LiveId" clId="{753283EB-EBC0-413C-B840-BF1DF8182372}" dt="2021-03-30T10:26:05.354" v="5574"/>
          <ac:spMkLst>
            <pc:docMk/>
            <pc:sldMk cId="3311661654" sldId="282"/>
            <ac:spMk id="112" creationId="{B9E22F5A-7CC9-4AE7-B0AD-552117BB4CE7}"/>
          </ac:spMkLst>
        </pc:spChg>
        <pc:spChg chg="add del mod modVis">
          <ac:chgData name="Frederick King" userId="bb732f183fe92d5e" providerId="LiveId" clId="{753283EB-EBC0-413C-B840-BF1DF8182372}" dt="2021-03-30T10:26:08.271" v="5692"/>
          <ac:spMkLst>
            <pc:docMk/>
            <pc:sldMk cId="3311661654" sldId="282"/>
            <ac:spMk id="113" creationId="{435157A7-6376-442C-A79F-8717C3B92ABC}"/>
          </ac:spMkLst>
        </pc:spChg>
        <pc:spChg chg="add del mod">
          <ac:chgData name="Frederick King" userId="bb732f183fe92d5e" providerId="LiveId" clId="{753283EB-EBC0-413C-B840-BF1DF8182372}" dt="2021-03-30T13:05:21.627" v="14165"/>
          <ac:spMkLst>
            <pc:docMk/>
            <pc:sldMk cId="3311661654" sldId="282"/>
            <ac:spMk id="113" creationId="{5B33658A-C744-4AD6-B275-D9C23EE902E8}"/>
          </ac:spMkLst>
        </pc:spChg>
        <pc:spChg chg="add del mod">
          <ac:chgData name="Frederick King" userId="bb732f183fe92d5e" providerId="LiveId" clId="{753283EB-EBC0-413C-B840-BF1DF8182372}" dt="2021-03-30T13:05:21.627" v="14164"/>
          <ac:spMkLst>
            <pc:docMk/>
            <pc:sldMk cId="3311661654" sldId="282"/>
            <ac:spMk id="114" creationId="{680B9504-A776-441E-BE76-951E6A0D9D0F}"/>
          </ac:spMkLst>
        </pc:spChg>
        <pc:spChg chg="add del mod modVis">
          <ac:chgData name="Frederick King" userId="bb732f183fe92d5e" providerId="LiveId" clId="{753283EB-EBC0-413C-B840-BF1DF8182372}" dt="2021-03-30T10:26:29.909" v="5978"/>
          <ac:spMkLst>
            <pc:docMk/>
            <pc:sldMk cId="3311661654" sldId="282"/>
            <ac:spMk id="114" creationId="{ECCA2525-DAAF-49A7-ADF8-592A7C7BA0E0}"/>
          </ac:spMkLst>
        </pc:spChg>
        <pc:spChg chg="add del mod modVis">
          <ac:chgData name="Frederick King" userId="bb732f183fe92d5e" providerId="LiveId" clId="{753283EB-EBC0-413C-B840-BF1DF8182372}" dt="2021-03-30T10:30:22.166" v="8308"/>
          <ac:spMkLst>
            <pc:docMk/>
            <pc:sldMk cId="3311661654" sldId="282"/>
            <ac:spMk id="115" creationId="{3A00A582-B60E-463C-8868-E2A09ADFC0BB}"/>
          </ac:spMkLst>
        </pc:spChg>
        <pc:spChg chg="add del mod">
          <ac:chgData name="Frederick King" userId="bb732f183fe92d5e" providerId="LiveId" clId="{753283EB-EBC0-413C-B840-BF1DF8182372}" dt="2021-03-30T13:05:21.627" v="14163"/>
          <ac:spMkLst>
            <pc:docMk/>
            <pc:sldMk cId="3311661654" sldId="282"/>
            <ac:spMk id="115" creationId="{3FCA7A93-CE84-4DFD-9597-BA93A5285D13}"/>
          </ac:spMkLst>
        </pc:spChg>
        <pc:spChg chg="add mod">
          <ac:chgData name="Frederick King" userId="bb732f183fe92d5e" providerId="LiveId" clId="{753283EB-EBC0-413C-B840-BF1DF8182372}" dt="2021-03-30T13:10:12.472" v="16142"/>
          <ac:spMkLst>
            <pc:docMk/>
            <pc:sldMk cId="3311661654" sldId="282"/>
            <ac:spMk id="116" creationId="{36D2596B-6E27-49AB-B329-466D3225F605}"/>
          </ac:spMkLst>
        </pc:spChg>
        <pc:spChg chg="add mod">
          <ac:chgData name="Frederick King" userId="bb732f183fe92d5e" providerId="LiveId" clId="{753283EB-EBC0-413C-B840-BF1DF8182372}" dt="2021-03-30T13:10:12.472" v="16143"/>
          <ac:spMkLst>
            <pc:docMk/>
            <pc:sldMk cId="3311661654" sldId="282"/>
            <ac:spMk id="117" creationId="{BEE43D04-C78B-4935-8ABB-84E8C1FA3EC8}"/>
          </ac:spMkLst>
        </pc:spChg>
        <pc:spChg chg="add mod">
          <ac:chgData name="Frederick King" userId="bb732f183fe92d5e" providerId="LiveId" clId="{753283EB-EBC0-413C-B840-BF1DF8182372}" dt="2021-03-30T13:10:12.472" v="16144"/>
          <ac:spMkLst>
            <pc:docMk/>
            <pc:sldMk cId="3311661654" sldId="282"/>
            <ac:spMk id="118" creationId="{5FE93B0B-CD0D-4997-AA3A-9E1DC12DD2B9}"/>
          </ac:spMkLst>
        </pc:spChg>
        <pc:spChg chg="add mod">
          <ac:chgData name="Frederick King" userId="bb732f183fe92d5e" providerId="LiveId" clId="{753283EB-EBC0-413C-B840-BF1DF8182372}" dt="2021-03-30T13:10:12.472" v="16145"/>
          <ac:spMkLst>
            <pc:docMk/>
            <pc:sldMk cId="3311661654" sldId="282"/>
            <ac:spMk id="119" creationId="{4F75B5EF-BA73-4F10-A025-4C7F30F196DE}"/>
          </ac:spMkLst>
        </pc:spChg>
        <pc:spChg chg="add mod">
          <ac:chgData name="Frederick King" userId="bb732f183fe92d5e" providerId="LiveId" clId="{753283EB-EBC0-413C-B840-BF1DF8182372}" dt="2021-03-30T13:10:12.472" v="16146"/>
          <ac:spMkLst>
            <pc:docMk/>
            <pc:sldMk cId="3311661654" sldId="282"/>
            <ac:spMk id="120" creationId="{468F3AF8-D79C-4B16-B341-D96480DF1503}"/>
          </ac:spMkLst>
        </pc:spChg>
        <pc:spChg chg="add mod">
          <ac:chgData name="Frederick King" userId="bb732f183fe92d5e" providerId="LiveId" clId="{753283EB-EBC0-413C-B840-BF1DF8182372}" dt="2021-03-30T13:10:12.472" v="16147"/>
          <ac:spMkLst>
            <pc:docMk/>
            <pc:sldMk cId="3311661654" sldId="282"/>
            <ac:spMk id="121" creationId="{00C791DB-72ED-4D0E-9260-A2F5BCDF05B4}"/>
          </ac:spMkLst>
        </pc:spChg>
        <pc:spChg chg="add mod">
          <ac:chgData name="Frederick King" userId="bb732f183fe92d5e" providerId="LiveId" clId="{753283EB-EBC0-413C-B840-BF1DF8182372}" dt="2021-03-30T13:10:12.472" v="16148"/>
          <ac:spMkLst>
            <pc:docMk/>
            <pc:sldMk cId="3311661654" sldId="282"/>
            <ac:spMk id="122" creationId="{1C8A6D54-AA33-45C4-ADA9-9502C3685B70}"/>
          </ac:spMkLst>
        </pc:spChg>
        <pc:spChg chg="add mod">
          <ac:chgData name="Frederick King" userId="bb732f183fe92d5e" providerId="LiveId" clId="{753283EB-EBC0-413C-B840-BF1DF8182372}" dt="2021-03-30T13:10:12.472" v="16149"/>
          <ac:spMkLst>
            <pc:docMk/>
            <pc:sldMk cId="3311661654" sldId="282"/>
            <ac:spMk id="123" creationId="{69802D2C-5F35-4326-A35C-EE33335CB2CF}"/>
          </ac:spMkLst>
        </pc:spChg>
        <pc:spChg chg="add mod ord">
          <ac:chgData name="Frederick King" userId="bb732f183fe92d5e" providerId="LiveId" clId="{753283EB-EBC0-413C-B840-BF1DF8182372}" dt="2021-03-30T13:10:12.472" v="16141" actId="948"/>
          <ac:spMkLst>
            <pc:docMk/>
            <pc:sldMk cId="3311661654" sldId="282"/>
            <ac:spMk id="124" creationId="{F4E15F34-512A-4B61-8956-7927BCB97F9D}"/>
          </ac:spMkLst>
        </pc:spChg>
        <pc:spChg chg="add del mod ord modVis">
          <ac:chgData name="Frederick King" userId="bb732f183fe92d5e" providerId="LiveId" clId="{753283EB-EBC0-413C-B840-BF1DF8182372}" dt="2021-03-30T13:04:15.634" v="11727"/>
          <ac:spMkLst>
            <pc:docMk/>
            <pc:sldMk cId="3311661654" sldId="282"/>
            <ac:spMk id="125" creationId="{E4CD0A72-698C-472D-83ED-02466E3185C4}"/>
          </ac:spMkLst>
        </pc:spChg>
        <pc:spChg chg="add del mod modVis">
          <ac:chgData name="Frederick King" userId="bb732f183fe92d5e" providerId="LiveId" clId="{753283EB-EBC0-413C-B840-BF1DF8182372}" dt="2021-03-30T13:04:18.308" v="11847"/>
          <ac:spMkLst>
            <pc:docMk/>
            <pc:sldMk cId="3311661654" sldId="282"/>
            <ac:spMk id="126" creationId="{8FC73C88-FDA4-47CB-B29D-07B2DEC563DF}"/>
          </ac:spMkLst>
        </pc:spChg>
        <pc:spChg chg="add del mod modVis">
          <ac:chgData name="Frederick King" userId="bb732f183fe92d5e" providerId="LiveId" clId="{753283EB-EBC0-413C-B840-BF1DF8182372}" dt="2021-03-30T13:04:21.773" v="11967"/>
          <ac:spMkLst>
            <pc:docMk/>
            <pc:sldMk cId="3311661654" sldId="282"/>
            <ac:spMk id="127" creationId="{52B22211-A5EF-4C9D-A6D0-917969469A02}"/>
          </ac:spMkLst>
        </pc:spChg>
        <pc:spChg chg="add del mod ord modVis">
          <ac:chgData name="Frederick King" userId="bb732f183fe92d5e" providerId="LiveId" clId="{753283EB-EBC0-413C-B840-BF1DF8182372}" dt="2021-03-30T13:04:41.283" v="13055"/>
          <ac:spMkLst>
            <pc:docMk/>
            <pc:sldMk cId="3311661654" sldId="282"/>
            <ac:spMk id="128" creationId="{D89237B4-C31F-4812-9857-B6DBAC951077}"/>
          </ac:spMkLst>
        </pc:spChg>
        <pc:spChg chg="add del mod modVis">
          <ac:chgData name="Frederick King" userId="bb732f183fe92d5e" providerId="LiveId" clId="{753283EB-EBC0-413C-B840-BF1DF8182372}" dt="2021-03-30T13:04:46.749" v="13175"/>
          <ac:spMkLst>
            <pc:docMk/>
            <pc:sldMk cId="3311661654" sldId="282"/>
            <ac:spMk id="129" creationId="{2E5CD912-7B73-4816-8568-3C71D2624BB4}"/>
          </ac:spMkLst>
        </pc:spChg>
        <pc:spChg chg="add del mod modVis">
          <ac:chgData name="Frederick King" userId="bb732f183fe92d5e" providerId="LiveId" clId="{753283EB-EBC0-413C-B840-BF1DF8182372}" dt="2021-03-30T13:06:15.875" v="14624"/>
          <ac:spMkLst>
            <pc:docMk/>
            <pc:sldMk cId="3311661654" sldId="282"/>
            <ac:spMk id="131" creationId="{607651F9-A681-4F3A-95CB-A747608EBAC2}"/>
          </ac:spMkLst>
        </pc:spChg>
        <pc:spChg chg="add del mod modVis">
          <ac:chgData name="Frederick King" userId="bb732f183fe92d5e" providerId="LiveId" clId="{753283EB-EBC0-413C-B840-BF1DF8182372}" dt="2021-03-30T13:06:22.909" v="14730"/>
          <ac:spMkLst>
            <pc:docMk/>
            <pc:sldMk cId="3311661654" sldId="282"/>
            <ac:spMk id="132" creationId="{AE775D62-9269-46DC-ABA1-2A36AA94349E}"/>
          </ac:spMkLst>
        </pc:spChg>
        <pc:spChg chg="add mod ord">
          <ac:chgData name="Frederick King" userId="bb732f183fe92d5e" providerId="LiveId" clId="{753283EB-EBC0-413C-B840-BF1DF8182372}" dt="2021-03-30T13:10:12.347" v="16135" actId="948"/>
          <ac:spMkLst>
            <pc:docMk/>
            <pc:sldMk cId="3311661654" sldId="282"/>
            <ac:spMk id="133" creationId="{76319BAD-7634-4CD1-9DB4-0A1C2805317E}"/>
          </ac:spMkLst>
        </pc:spChg>
        <pc:spChg chg="add del mod ord modVis">
          <ac:chgData name="Frederick King" userId="bb732f183fe92d5e" providerId="LiveId" clId="{753283EB-EBC0-413C-B840-BF1DF8182372}" dt="2021-03-30T13:06:31.275" v="14988"/>
          <ac:spMkLst>
            <pc:docMk/>
            <pc:sldMk cId="3311661654" sldId="282"/>
            <ac:spMk id="134" creationId="{D648B89F-94DF-48E1-B680-5CA1EF727E06}"/>
          </ac:spMkLst>
        </pc:spChg>
        <pc:spChg chg="add mod ord">
          <ac:chgData name="Frederick King" userId="bb732f183fe92d5e" providerId="LiveId" clId="{753283EB-EBC0-413C-B840-BF1DF8182372}" dt="2021-03-30T13:09:49.386" v="15677"/>
          <ac:spMkLst>
            <pc:docMk/>
            <pc:sldMk cId="3311661654" sldId="282"/>
            <ac:spMk id="135" creationId="{35D370E1-A4D6-46F1-988D-F899F90859E3}"/>
          </ac:spMkLst>
        </pc:spChg>
        <pc:spChg chg="add del mod modVis">
          <ac:chgData name="Frederick King" userId="bb732f183fe92d5e" providerId="LiveId" clId="{753283EB-EBC0-413C-B840-BF1DF8182372}" dt="2021-03-30T13:06:35.207" v="15095"/>
          <ac:spMkLst>
            <pc:docMk/>
            <pc:sldMk cId="3311661654" sldId="282"/>
            <ac:spMk id="136" creationId="{75737CAE-CBFE-4EE7-BE6E-3393877FF33E}"/>
          </ac:spMkLst>
        </pc:spChg>
        <pc:spChg chg="add mod ord">
          <ac:chgData name="Frederick King" userId="bb732f183fe92d5e" providerId="LiveId" clId="{753283EB-EBC0-413C-B840-BF1DF8182372}" dt="2021-03-30T13:10:12.347" v="16132" actId="948"/>
          <ac:spMkLst>
            <pc:docMk/>
            <pc:sldMk cId="3311661654" sldId="282"/>
            <ac:spMk id="137" creationId="{B6599BEE-C9D9-4195-968F-2555BDF6559C}"/>
          </ac:spMkLst>
        </pc:spChg>
        <pc:spChg chg="add del mod ord modVis">
          <ac:chgData name="Frederick King" userId="bb732f183fe92d5e" providerId="LiveId" clId="{753283EB-EBC0-413C-B840-BF1DF8182372}" dt="2021-03-30T13:09:34.808" v="15432"/>
          <ac:spMkLst>
            <pc:docMk/>
            <pc:sldMk cId="3311661654" sldId="282"/>
            <ac:spMk id="138" creationId="{BF1FA114-56BA-4F54-9BA8-E8F0FABC9795}"/>
          </ac:spMkLst>
        </pc:spChg>
        <pc:spChg chg="add mod ord">
          <ac:chgData name="Frederick King" userId="bb732f183fe92d5e" providerId="LiveId" clId="{753283EB-EBC0-413C-B840-BF1DF8182372}" dt="2021-03-30T13:09:49.386" v="15683"/>
          <ac:spMkLst>
            <pc:docMk/>
            <pc:sldMk cId="3311661654" sldId="282"/>
            <ac:spMk id="139" creationId="{957C3344-60B0-4B62-96E7-01781BEB3005}"/>
          </ac:spMkLst>
        </pc:spChg>
        <pc:spChg chg="add mod ord">
          <ac:chgData name="Frederick King" userId="bb732f183fe92d5e" providerId="LiveId" clId="{753283EB-EBC0-413C-B840-BF1DF8182372}" dt="2021-04-20T09:17:52.001" v="21280" actId="20577"/>
          <ac:spMkLst>
            <pc:docMk/>
            <pc:sldMk cId="3311661654" sldId="282"/>
            <ac:spMk id="140" creationId="{1973DDBE-A92E-439E-86BC-3EBA4652597D}"/>
          </ac:spMkLst>
        </pc:spChg>
        <pc:spChg chg="add del mod ord modVis">
          <ac:chgData name="Frederick King" userId="bb732f183fe92d5e" providerId="LiveId" clId="{753283EB-EBC0-413C-B840-BF1DF8182372}" dt="2021-03-30T13:09:49.401" v="15743"/>
          <ac:spMkLst>
            <pc:docMk/>
            <pc:sldMk cId="3311661654" sldId="282"/>
            <ac:spMk id="141" creationId="{9CC50DF4-B902-4D17-B9F8-2C8FF344B528}"/>
          </ac:spMkLst>
        </pc:spChg>
        <pc:spChg chg="add mod ord">
          <ac:chgData name="Frederick King" userId="bb732f183fe92d5e" providerId="LiveId" clId="{753283EB-EBC0-413C-B840-BF1DF8182372}" dt="2021-03-30T13:10:12.457" v="16140" actId="16931"/>
          <ac:spMkLst>
            <pc:docMk/>
            <pc:sldMk cId="3311661654" sldId="282"/>
            <ac:spMk id="142" creationId="{7370FD80-460D-47E5-B4D9-49335F9E8906}"/>
          </ac:spMkLst>
        </pc:spChg>
        <pc:spChg chg="add del mod modVis">
          <ac:chgData name="Frederick King" userId="bb732f183fe92d5e" providerId="LiveId" clId="{753283EB-EBC0-413C-B840-BF1DF8182372}" dt="2021-03-30T13:09:53.179" v="15851"/>
          <ac:spMkLst>
            <pc:docMk/>
            <pc:sldMk cId="3311661654" sldId="282"/>
            <ac:spMk id="143" creationId="{FF46C22F-3C40-42FE-A687-0DB32E87A3FF}"/>
          </ac:spMkLst>
        </pc:spChg>
        <pc:spChg chg="add del mod">
          <ac:chgData name="Frederick King" userId="bb732f183fe92d5e" providerId="LiveId" clId="{753283EB-EBC0-413C-B840-BF1DF8182372}" dt="2021-03-30T14:17:37.717" v="17194" actId="478"/>
          <ac:spMkLst>
            <pc:docMk/>
            <pc:sldMk cId="3311661654" sldId="282"/>
            <ac:spMk id="144" creationId="{F5B94A44-95C4-4DF1-B9E9-4BE7E26C0859}"/>
          </ac:spMkLst>
        </pc:spChg>
        <pc:spChg chg="add mod">
          <ac:chgData name="Frederick King" userId="bb732f183fe92d5e" providerId="LiveId" clId="{753283EB-EBC0-413C-B840-BF1DF8182372}" dt="2021-03-30T14:17:38.348" v="17195"/>
          <ac:spMkLst>
            <pc:docMk/>
            <pc:sldMk cId="3311661654" sldId="282"/>
            <ac:spMk id="145" creationId="{9B36A37B-A5EB-4DC5-83F5-8715D0F8789F}"/>
          </ac:spMkLst>
        </pc:spChg>
        <pc:graphicFrameChg chg="mod ord">
          <ac:chgData name="Frederick King" userId="bb732f183fe92d5e" providerId="LiveId" clId="{753283EB-EBC0-413C-B840-BF1DF8182372}" dt="2021-03-30T13:10:12.488" v="16151"/>
          <ac:graphicFrameMkLst>
            <pc:docMk/>
            <pc:sldMk cId="3311661654" sldId="282"/>
            <ac:graphicFrameMk id="11" creationId="{EFB91133-0E2F-48F6-A178-B17E2BEC5EAB}"/>
          </ac:graphicFrameMkLst>
        </pc:graphicFrameChg>
        <pc:cxnChg chg="add del mod">
          <ac:chgData name="Frederick King" userId="bb732f183fe92d5e" providerId="LiveId" clId="{753283EB-EBC0-413C-B840-BF1DF8182372}" dt="2021-04-20T12:50:09.107" v="21371"/>
          <ac:cxnSpMkLst>
            <pc:docMk/>
            <pc:sldMk cId="3311661654" sldId="282"/>
            <ac:cxnSpMk id="3" creationId="{A6E9EF2C-9C90-4046-9625-86A94ACC1729}"/>
          </ac:cxnSpMkLst>
        </pc:cxnChg>
        <pc:cxnChg chg="add del mod ord">
          <ac:chgData name="Frederick King" userId="bb732f183fe92d5e" providerId="LiveId" clId="{753283EB-EBC0-413C-B840-BF1DF8182372}" dt="2021-03-30T13:05:17.826" v="13945"/>
          <ac:cxnSpMkLst>
            <pc:docMk/>
            <pc:sldMk cId="3311661654" sldId="282"/>
            <ac:cxnSpMk id="4" creationId="{05AA6E99-B3A4-4D3A-B944-B4E004DAB8C1}"/>
          </ac:cxnSpMkLst>
        </pc:cxnChg>
        <pc:cxnChg chg="add del mod ord">
          <ac:chgData name="Frederick King" userId="bb732f183fe92d5e" providerId="LiveId" clId="{753283EB-EBC0-413C-B840-BF1DF8182372}" dt="2021-03-30T13:05:21.783" v="14329"/>
          <ac:cxnSpMkLst>
            <pc:docMk/>
            <pc:sldMk cId="3311661654" sldId="282"/>
            <ac:cxnSpMk id="5" creationId="{AE16FEA2-520B-4AEB-9534-09D6D9F3D698}"/>
          </ac:cxnSpMkLst>
        </pc:cxnChg>
        <pc:cxnChg chg="add del mod ord">
          <ac:chgData name="Frederick King" userId="bb732f183fe92d5e" providerId="LiveId" clId="{753283EB-EBC0-413C-B840-BF1DF8182372}" dt="2021-03-30T13:05:21.783" v="14327"/>
          <ac:cxnSpMkLst>
            <pc:docMk/>
            <pc:sldMk cId="3311661654" sldId="282"/>
            <ac:cxnSpMk id="6" creationId="{F5BBDA56-538D-46F0-85E6-AC4DBA9F9A4E}"/>
          </ac:cxnSpMkLst>
        </pc:cxnChg>
        <pc:cxnChg chg="add del mod ord">
          <ac:chgData name="Frederick King" userId="bb732f183fe92d5e" providerId="LiveId" clId="{753283EB-EBC0-413C-B840-BF1DF8182372}" dt="2021-03-30T13:05:21.783" v="14325"/>
          <ac:cxnSpMkLst>
            <pc:docMk/>
            <pc:sldMk cId="3311661654" sldId="282"/>
            <ac:cxnSpMk id="7" creationId="{015E1EFE-B5A1-4A80-9466-1E44498D4F0E}"/>
          </ac:cxnSpMkLst>
        </pc:cxnChg>
        <pc:cxnChg chg="add del mod ord">
          <ac:chgData name="Frederick King" userId="bb732f183fe92d5e" providerId="LiveId" clId="{753283EB-EBC0-413C-B840-BF1DF8182372}" dt="2021-03-30T13:05:21.783" v="14323"/>
          <ac:cxnSpMkLst>
            <pc:docMk/>
            <pc:sldMk cId="3311661654" sldId="282"/>
            <ac:cxnSpMk id="19" creationId="{641F08D1-1A47-4736-B938-6D9F9FA3FE8B}"/>
          </ac:cxnSpMkLst>
        </pc:cxnChg>
        <pc:cxnChg chg="add del mod ord">
          <ac:chgData name="Frederick King" userId="bb732f183fe92d5e" providerId="LiveId" clId="{753283EB-EBC0-413C-B840-BF1DF8182372}" dt="2021-03-30T13:05:17.857" v="13983"/>
          <ac:cxnSpMkLst>
            <pc:docMk/>
            <pc:sldMk cId="3311661654" sldId="282"/>
            <ac:cxnSpMk id="27" creationId="{50AF3CC9-7C8C-477E-A35E-B8205C253EEC}"/>
          </ac:cxnSpMkLst>
        </pc:cxnChg>
        <pc:cxnChg chg="add del mod ord">
          <ac:chgData name="Frederick King" userId="bb732f183fe92d5e" providerId="LiveId" clId="{753283EB-EBC0-413C-B840-BF1DF8182372}" dt="2021-03-30T13:03:05.574" v="10654"/>
          <ac:cxnSpMkLst>
            <pc:docMk/>
            <pc:sldMk cId="3311661654" sldId="282"/>
            <ac:cxnSpMk id="28" creationId="{381E91D3-8AD5-437C-B024-AB1823542696}"/>
          </ac:cxnSpMkLst>
        </pc:cxnChg>
        <pc:cxnChg chg="add del mod ord">
          <ac:chgData name="Frederick King" userId="bb732f183fe92d5e" providerId="LiveId" clId="{753283EB-EBC0-413C-B840-BF1DF8182372}" dt="2021-03-30T13:05:17.857" v="13981"/>
          <ac:cxnSpMkLst>
            <pc:docMk/>
            <pc:sldMk cId="3311661654" sldId="282"/>
            <ac:cxnSpMk id="29" creationId="{DF30EA51-3D07-4B1D-BC6A-6017557BE92E}"/>
          </ac:cxnSpMkLst>
        </pc:cxnChg>
        <pc:cxnChg chg="add del mod ord">
          <ac:chgData name="Frederick King" userId="bb732f183fe92d5e" providerId="LiveId" clId="{753283EB-EBC0-413C-B840-BF1DF8182372}" dt="2021-03-30T13:05:17.857" v="13979"/>
          <ac:cxnSpMkLst>
            <pc:docMk/>
            <pc:sldMk cId="3311661654" sldId="282"/>
            <ac:cxnSpMk id="30" creationId="{23F1D45B-88B6-4DFD-AEE5-705B9FD1FC69}"/>
          </ac:cxnSpMkLst>
        </pc:cxnChg>
        <pc:cxnChg chg="mod ord">
          <ac:chgData name="Frederick King" userId="bb732f183fe92d5e" providerId="LiveId" clId="{753283EB-EBC0-413C-B840-BF1DF8182372}" dt="2021-03-30T13:09:49.370" v="15641"/>
          <ac:cxnSpMkLst>
            <pc:docMk/>
            <pc:sldMk cId="3311661654" sldId="282"/>
            <ac:cxnSpMk id="39" creationId="{A4AD7B95-4B96-4D40-A1BB-D3A16CC6B4F4}"/>
          </ac:cxnSpMkLst>
        </pc:cxnChg>
        <pc:cxnChg chg="add del mod ord">
          <ac:chgData name="Frederick King" userId="bb732f183fe92d5e" providerId="LiveId" clId="{753283EB-EBC0-413C-B840-BF1DF8182372}" dt="2021-03-30T13:05:17.857" v="13977"/>
          <ac:cxnSpMkLst>
            <pc:docMk/>
            <pc:sldMk cId="3311661654" sldId="282"/>
            <ac:cxnSpMk id="40" creationId="{A4EC4375-93CD-4A2F-A8A8-74934F9EECB8}"/>
          </ac:cxnSpMkLst>
        </pc:cxnChg>
        <pc:cxnChg chg="del">
          <ac:chgData name="Frederick King" userId="bb732f183fe92d5e" providerId="LiveId" clId="{753283EB-EBC0-413C-B840-BF1DF8182372}" dt="2021-03-30T10:19:26.124" v="4276"/>
          <ac:cxnSpMkLst>
            <pc:docMk/>
            <pc:sldMk cId="3311661654" sldId="282"/>
            <ac:cxnSpMk id="40" creationId="{C4F2DEC9-3820-4450-B053-DDA6D7D8D4B8}"/>
          </ac:cxnSpMkLst>
        </pc:cxnChg>
        <pc:cxnChg chg="mod ord">
          <ac:chgData name="Frederick King" userId="bb732f183fe92d5e" providerId="LiveId" clId="{753283EB-EBC0-413C-B840-BF1DF8182372}" dt="2021-03-30T13:09:49.370" v="15637"/>
          <ac:cxnSpMkLst>
            <pc:docMk/>
            <pc:sldMk cId="3311661654" sldId="282"/>
            <ac:cxnSpMk id="41" creationId="{B5360900-3ED8-439F-B8B8-C200B3426458}"/>
          </ac:cxnSpMkLst>
        </pc:cxnChg>
        <pc:cxnChg chg="mod ord">
          <ac:chgData name="Frederick King" userId="bb732f183fe92d5e" providerId="LiveId" clId="{753283EB-EBC0-413C-B840-BF1DF8182372}" dt="2021-03-30T13:09:49.370" v="15635"/>
          <ac:cxnSpMkLst>
            <pc:docMk/>
            <pc:sldMk cId="3311661654" sldId="282"/>
            <ac:cxnSpMk id="42" creationId="{A09DDD58-D447-4FBC-BC61-B8F0292630B6}"/>
          </ac:cxnSpMkLst>
        </pc:cxnChg>
        <pc:cxnChg chg="mod ord">
          <ac:chgData name="Frederick King" userId="bb732f183fe92d5e" providerId="LiveId" clId="{753283EB-EBC0-413C-B840-BF1DF8182372}" dt="2021-03-30T13:09:49.370" v="15629"/>
          <ac:cxnSpMkLst>
            <pc:docMk/>
            <pc:sldMk cId="3311661654" sldId="282"/>
            <ac:cxnSpMk id="43" creationId="{226B1C3D-B112-4A09-99F7-102129E6F7DF}"/>
          </ac:cxnSpMkLst>
        </pc:cxnChg>
        <pc:cxnChg chg="del">
          <ac:chgData name="Frederick King" userId="bb732f183fe92d5e" providerId="LiveId" clId="{753283EB-EBC0-413C-B840-BF1DF8182372}" dt="2021-03-30T10:19:26.124" v="4280"/>
          <ac:cxnSpMkLst>
            <pc:docMk/>
            <pc:sldMk cId="3311661654" sldId="282"/>
            <ac:cxnSpMk id="44" creationId="{8863442F-3339-49E9-A1A0-E307B5F8AB21}"/>
          </ac:cxnSpMkLst>
        </pc:cxnChg>
        <pc:cxnChg chg="add del mod ord">
          <ac:chgData name="Frederick King" userId="bb732f183fe92d5e" providerId="LiveId" clId="{753283EB-EBC0-413C-B840-BF1DF8182372}" dt="2021-03-30T13:05:17.857" v="13975"/>
          <ac:cxnSpMkLst>
            <pc:docMk/>
            <pc:sldMk cId="3311661654" sldId="282"/>
            <ac:cxnSpMk id="44" creationId="{9824153E-ACF4-48EE-8EDD-7B55707F438D}"/>
          </ac:cxnSpMkLst>
        </pc:cxnChg>
        <pc:cxnChg chg="mod ord">
          <ac:chgData name="Frederick King" userId="bb732f183fe92d5e" providerId="LiveId" clId="{753283EB-EBC0-413C-B840-BF1DF8182372}" dt="2021-03-30T13:09:49.370" v="15639"/>
          <ac:cxnSpMkLst>
            <pc:docMk/>
            <pc:sldMk cId="3311661654" sldId="282"/>
            <ac:cxnSpMk id="45" creationId="{DDEE323D-6A97-441C-B4B5-C719977D3CC3}"/>
          </ac:cxnSpMkLst>
        </pc:cxnChg>
        <pc:cxnChg chg="del">
          <ac:chgData name="Frederick King" userId="bb732f183fe92d5e" providerId="LiveId" clId="{753283EB-EBC0-413C-B840-BF1DF8182372}" dt="2021-03-30T10:19:26.124" v="4274"/>
          <ac:cxnSpMkLst>
            <pc:docMk/>
            <pc:sldMk cId="3311661654" sldId="282"/>
            <ac:cxnSpMk id="46" creationId="{6E048096-A9C8-4E2F-A676-E6FD0F4F8D20}"/>
          </ac:cxnSpMkLst>
        </pc:cxnChg>
        <pc:cxnChg chg="add del mod ord">
          <ac:chgData name="Frederick King" userId="bb732f183fe92d5e" providerId="LiveId" clId="{753283EB-EBC0-413C-B840-BF1DF8182372}" dt="2021-03-30T13:05:17.857" v="13973"/>
          <ac:cxnSpMkLst>
            <pc:docMk/>
            <pc:sldMk cId="3311661654" sldId="282"/>
            <ac:cxnSpMk id="46" creationId="{C0CD698B-BCB6-4846-8B06-0AE4C427E984}"/>
          </ac:cxnSpMkLst>
        </pc:cxnChg>
        <pc:cxnChg chg="mod ord">
          <ac:chgData name="Frederick King" userId="bb732f183fe92d5e" providerId="LiveId" clId="{753283EB-EBC0-413C-B840-BF1DF8182372}" dt="2021-03-30T13:09:49.370" v="15631"/>
          <ac:cxnSpMkLst>
            <pc:docMk/>
            <pc:sldMk cId="3311661654" sldId="282"/>
            <ac:cxnSpMk id="47" creationId="{33232053-1484-42D8-9A46-57D3F7D1FE5B}"/>
          </ac:cxnSpMkLst>
        </pc:cxnChg>
        <pc:cxnChg chg="add del mod ord">
          <ac:chgData name="Frederick King" userId="bb732f183fe92d5e" providerId="LiveId" clId="{753283EB-EBC0-413C-B840-BF1DF8182372}" dt="2021-03-30T13:05:17.857" v="13971"/>
          <ac:cxnSpMkLst>
            <pc:docMk/>
            <pc:sldMk cId="3311661654" sldId="282"/>
            <ac:cxnSpMk id="48" creationId="{8941D49D-3852-4370-B89E-D34C269EBBD4}"/>
          </ac:cxnSpMkLst>
        </pc:cxnChg>
        <pc:cxnChg chg="del">
          <ac:chgData name="Frederick King" userId="bb732f183fe92d5e" providerId="LiveId" clId="{753283EB-EBC0-413C-B840-BF1DF8182372}" dt="2021-03-30T10:19:26.124" v="4278"/>
          <ac:cxnSpMkLst>
            <pc:docMk/>
            <pc:sldMk cId="3311661654" sldId="282"/>
            <ac:cxnSpMk id="48" creationId="{C555568B-9413-43C2-8588-492FC34DAC12}"/>
          </ac:cxnSpMkLst>
        </pc:cxnChg>
        <pc:cxnChg chg="del">
          <ac:chgData name="Frederick King" userId="bb732f183fe92d5e" providerId="LiveId" clId="{753283EB-EBC0-413C-B840-BF1DF8182372}" dt="2021-03-30T10:19:26.093" v="4242"/>
          <ac:cxnSpMkLst>
            <pc:docMk/>
            <pc:sldMk cId="3311661654" sldId="282"/>
            <ac:cxnSpMk id="49" creationId="{5EF0366E-C710-4C45-B171-5D5041E3E214}"/>
          </ac:cxnSpMkLst>
        </pc:cxnChg>
        <pc:cxnChg chg="add del mod ord">
          <ac:chgData name="Frederick King" userId="bb732f183fe92d5e" providerId="LiveId" clId="{753283EB-EBC0-413C-B840-BF1DF8182372}" dt="2021-03-30T13:05:21.768" v="14291"/>
          <ac:cxnSpMkLst>
            <pc:docMk/>
            <pc:sldMk cId="3311661654" sldId="282"/>
            <ac:cxnSpMk id="49" creationId="{75B2C01C-AF30-49EE-9EF7-746AE7666257}"/>
          </ac:cxnSpMkLst>
        </pc:cxnChg>
        <pc:cxnChg chg="mod ord">
          <ac:chgData name="Frederick King" userId="bb732f183fe92d5e" providerId="LiveId" clId="{753283EB-EBC0-413C-B840-BF1DF8182372}" dt="2021-03-30T13:09:49.370" v="15633"/>
          <ac:cxnSpMkLst>
            <pc:docMk/>
            <pc:sldMk cId="3311661654" sldId="282"/>
            <ac:cxnSpMk id="50" creationId="{8366E251-EE45-482D-8096-43A0FE442804}"/>
          </ac:cxnSpMkLst>
        </pc:cxnChg>
        <pc:cxnChg chg="mod ord">
          <ac:chgData name="Frederick King" userId="bb732f183fe92d5e" providerId="LiveId" clId="{753283EB-EBC0-413C-B840-BF1DF8182372}" dt="2021-03-30T13:09:49.370" v="15645"/>
          <ac:cxnSpMkLst>
            <pc:docMk/>
            <pc:sldMk cId="3311661654" sldId="282"/>
            <ac:cxnSpMk id="51" creationId="{AD65322B-9088-49BC-99E0-87BF06A1600A}"/>
          </ac:cxnSpMkLst>
        </pc:cxnChg>
        <pc:cxnChg chg="mod ord">
          <ac:chgData name="Frederick King" userId="bb732f183fe92d5e" providerId="LiveId" clId="{753283EB-EBC0-413C-B840-BF1DF8182372}" dt="2021-03-30T13:09:49.370" v="15643"/>
          <ac:cxnSpMkLst>
            <pc:docMk/>
            <pc:sldMk cId="3311661654" sldId="282"/>
            <ac:cxnSpMk id="52" creationId="{1DED67B2-E0E1-4558-AD65-5D0FD459C75E}"/>
          </ac:cxnSpMkLst>
        </pc:cxnChg>
        <pc:cxnChg chg="mod ord">
          <ac:chgData name="Frederick King" userId="bb732f183fe92d5e" providerId="LiveId" clId="{753283EB-EBC0-413C-B840-BF1DF8182372}" dt="2021-03-30T13:09:49.370" v="15649"/>
          <ac:cxnSpMkLst>
            <pc:docMk/>
            <pc:sldMk cId="3311661654" sldId="282"/>
            <ac:cxnSpMk id="53" creationId="{B9664646-6951-4942-8F09-4EBC447B218D}"/>
          </ac:cxnSpMkLst>
        </pc:cxnChg>
        <pc:cxnChg chg="mod ord">
          <ac:chgData name="Frederick King" userId="bb732f183fe92d5e" providerId="LiveId" clId="{753283EB-EBC0-413C-B840-BF1DF8182372}" dt="2021-03-30T13:09:49.370" v="15653"/>
          <ac:cxnSpMkLst>
            <pc:docMk/>
            <pc:sldMk cId="3311661654" sldId="282"/>
            <ac:cxnSpMk id="54" creationId="{12378AB0-BB84-4CD8-9577-FDED78747D24}"/>
          </ac:cxnSpMkLst>
        </pc:cxnChg>
        <pc:cxnChg chg="mod ord">
          <ac:chgData name="Frederick King" userId="bb732f183fe92d5e" providerId="LiveId" clId="{753283EB-EBC0-413C-B840-BF1DF8182372}" dt="2021-03-30T13:09:49.370" v="15651"/>
          <ac:cxnSpMkLst>
            <pc:docMk/>
            <pc:sldMk cId="3311661654" sldId="282"/>
            <ac:cxnSpMk id="55" creationId="{40EFF1B0-2B0C-4933-8B9F-71ECD9B86430}"/>
          </ac:cxnSpMkLst>
        </pc:cxnChg>
        <pc:cxnChg chg="mod ord">
          <ac:chgData name="Frederick King" userId="bb732f183fe92d5e" providerId="LiveId" clId="{753283EB-EBC0-413C-B840-BF1DF8182372}" dt="2021-03-30T13:09:49.370" v="15655"/>
          <ac:cxnSpMkLst>
            <pc:docMk/>
            <pc:sldMk cId="3311661654" sldId="282"/>
            <ac:cxnSpMk id="56" creationId="{F0BE66DA-4B93-4514-AF7B-33B61074F667}"/>
          </ac:cxnSpMkLst>
        </pc:cxnChg>
        <pc:cxnChg chg="add mod ord">
          <ac:chgData name="Frederick King" userId="bb732f183fe92d5e" providerId="LiveId" clId="{753283EB-EBC0-413C-B840-BF1DF8182372}" dt="2021-03-30T13:09:49.370" v="15647"/>
          <ac:cxnSpMkLst>
            <pc:docMk/>
            <pc:sldMk cId="3311661654" sldId="282"/>
            <ac:cxnSpMk id="130" creationId="{5F615465-3FD0-448B-B9CE-B2D1A17B31AB}"/>
          </ac:cxnSpMkLst>
        </pc:cxnChg>
      </pc:sldChg>
      <pc:sldChg chg="addSp delSp modSp mod">
        <pc:chgData name="Frederick King" userId="bb732f183fe92d5e" providerId="LiveId" clId="{753283EB-EBC0-413C-B840-BF1DF8182372}" dt="2021-04-21T13:55:59.970" v="21604" actId="20577"/>
        <pc:sldMkLst>
          <pc:docMk/>
          <pc:sldMk cId="2110684806" sldId="283"/>
        </pc:sldMkLst>
        <pc:spChg chg="mod">
          <ac:chgData name="Frederick King" userId="bb732f183fe92d5e" providerId="LiveId" clId="{753283EB-EBC0-413C-B840-BF1DF8182372}" dt="2021-03-30T12:59:40.293" v="9100" actId="948"/>
          <ac:spMkLst>
            <pc:docMk/>
            <pc:sldMk cId="2110684806" sldId="283"/>
            <ac:spMk id="2" creationId="{2C72BAFB-38D4-4258-BA15-1CFBBCCB4463}"/>
          </ac:spMkLst>
        </pc:spChg>
        <pc:spChg chg="add del mod modVis">
          <ac:chgData name="Frederick King" userId="bb732f183fe92d5e" providerId="LiveId" clId="{753283EB-EBC0-413C-B840-BF1DF8182372}" dt="2021-03-30T10:46:44.781" v="8893"/>
          <ac:spMkLst>
            <pc:docMk/>
            <pc:sldMk cId="2110684806" sldId="283"/>
            <ac:spMk id="4" creationId="{F78F1016-5063-434B-AC09-4498CA35410A}"/>
          </ac:spMkLst>
        </pc:spChg>
        <pc:spChg chg="add del mod modVis">
          <ac:chgData name="Frederick King" userId="bb732f183fe92d5e" providerId="LiveId" clId="{753283EB-EBC0-413C-B840-BF1DF8182372}" dt="2021-03-30T12:59:40.324" v="9137"/>
          <ac:spMkLst>
            <pc:docMk/>
            <pc:sldMk cId="2110684806" sldId="283"/>
            <ac:spMk id="5" creationId="{DA5DD1D4-3967-466F-A13F-00FD787955C5}"/>
          </ac:spMkLst>
        </pc:spChg>
        <pc:spChg chg="add del mod">
          <ac:chgData name="Frederick King" userId="bb732f183fe92d5e" providerId="LiveId" clId="{753283EB-EBC0-413C-B840-BF1DF8182372}" dt="2021-03-29T13:51:06.329" v="985" actId="478"/>
          <ac:spMkLst>
            <pc:docMk/>
            <pc:sldMk cId="2110684806" sldId="283"/>
            <ac:spMk id="6" creationId="{7035E098-5221-48EF-8499-ADB3897372C8}"/>
          </ac:spMkLst>
        </pc:spChg>
        <pc:spChg chg="add del mod">
          <ac:chgData name="Frederick King" userId="bb732f183fe92d5e" providerId="LiveId" clId="{753283EB-EBC0-413C-B840-BF1DF8182372}" dt="2021-03-30T13:24:21.009" v="16996" actId="478"/>
          <ac:spMkLst>
            <pc:docMk/>
            <pc:sldMk cId="2110684806" sldId="283"/>
            <ac:spMk id="7" creationId="{6A9B8CAB-379D-403D-9E02-0520081D417C}"/>
          </ac:spMkLst>
        </pc:spChg>
        <pc:spChg chg="add mod">
          <ac:chgData name="Frederick King" userId="bb732f183fe92d5e" providerId="LiveId" clId="{753283EB-EBC0-413C-B840-BF1DF8182372}" dt="2021-03-30T08:24:10.312" v="3756"/>
          <ac:spMkLst>
            <pc:docMk/>
            <pc:sldMk cId="2110684806" sldId="283"/>
            <ac:spMk id="8" creationId="{3624016E-364E-4C1A-B73F-E7E4E247D387}"/>
          </ac:spMkLst>
        </pc:spChg>
        <pc:spChg chg="add del mod">
          <ac:chgData name="Frederick King" userId="bb732f183fe92d5e" providerId="LiveId" clId="{753283EB-EBC0-413C-B840-BF1DF8182372}" dt="2021-03-30T14:17:32.318" v="17192" actId="478"/>
          <ac:spMkLst>
            <pc:docMk/>
            <pc:sldMk cId="2110684806" sldId="283"/>
            <ac:spMk id="12" creationId="{EA95067B-5DC4-4346-AE38-3B7D99B3714F}"/>
          </ac:spMkLst>
        </pc:spChg>
        <pc:spChg chg="add mod">
          <ac:chgData name="Frederick King" userId="bb732f183fe92d5e" providerId="LiveId" clId="{753283EB-EBC0-413C-B840-BF1DF8182372}" dt="2021-03-30T14:17:32.687" v="17193"/>
          <ac:spMkLst>
            <pc:docMk/>
            <pc:sldMk cId="2110684806" sldId="283"/>
            <ac:spMk id="13" creationId="{2EBBA8CC-EC51-4BC7-B524-366F671989E8}"/>
          </ac:spMkLst>
        </pc:spChg>
        <pc:spChg chg="del">
          <ac:chgData name="Frederick King" userId="bb732f183fe92d5e" providerId="LiveId" clId="{753283EB-EBC0-413C-B840-BF1DF8182372}" dt="2021-03-30T08:24:09.919" v="3755" actId="478"/>
          <ac:spMkLst>
            <pc:docMk/>
            <pc:sldMk cId="2110684806" sldId="283"/>
            <ac:spMk id="19" creationId="{8D888209-7751-44A7-B3BA-BA6313283FF3}"/>
          </ac:spMkLst>
        </pc:spChg>
        <pc:graphicFrameChg chg="add del mod">
          <ac:chgData name="Frederick King" userId="bb732f183fe92d5e" providerId="LiveId" clId="{753283EB-EBC0-413C-B840-BF1DF8182372}" dt="2021-03-30T10:45:55.887" v="8832"/>
          <ac:graphicFrameMkLst>
            <pc:docMk/>
            <pc:sldMk cId="2110684806" sldId="283"/>
            <ac:graphicFrameMk id="3" creationId="{415C56E5-4CCA-459B-9A4B-13BBA1FBE56D}"/>
          </ac:graphicFrameMkLst>
        </pc:graphicFrameChg>
        <pc:graphicFrameChg chg="mod modGraphic">
          <ac:chgData name="Frederick King" userId="bb732f183fe92d5e" providerId="LiveId" clId="{753283EB-EBC0-413C-B840-BF1DF8182372}" dt="2021-04-21T13:55:59.970" v="21604" actId="20577"/>
          <ac:graphicFrameMkLst>
            <pc:docMk/>
            <pc:sldMk cId="2110684806" sldId="283"/>
            <ac:graphicFrameMk id="10" creationId="{BA66F5EB-925A-4FC3-BAC7-F030C4B3404D}"/>
          </ac:graphicFrameMkLst>
        </pc:graphicFrameChg>
        <pc:graphicFrameChg chg="mod">
          <ac:chgData name="Frederick King" userId="bb732f183fe92d5e" providerId="LiveId" clId="{753283EB-EBC0-413C-B840-BF1DF8182372}" dt="2021-03-30T12:59:40.324" v="9139"/>
          <ac:graphicFrameMkLst>
            <pc:docMk/>
            <pc:sldMk cId="2110684806" sldId="283"/>
            <ac:graphicFrameMk id="11" creationId="{EFB91133-0E2F-48F6-A178-B17E2BEC5EAB}"/>
          </ac:graphicFrameMkLst>
        </pc:graphicFrameChg>
      </pc:sldChg>
      <pc:sldChg chg="addSp delSp modSp mod">
        <pc:chgData name="Frederick King" userId="bb732f183fe92d5e" providerId="LiveId" clId="{753283EB-EBC0-413C-B840-BF1DF8182372}" dt="2021-03-29T13:48:58.131" v="941" actId="478"/>
        <pc:sldMkLst>
          <pc:docMk/>
          <pc:sldMk cId="4162877925" sldId="284"/>
        </pc:sldMkLst>
        <pc:spChg chg="add del mod">
          <ac:chgData name="Frederick King" userId="bb732f183fe92d5e" providerId="LiveId" clId="{753283EB-EBC0-413C-B840-BF1DF8182372}" dt="2021-03-29T13:48:58.131" v="941" actId="478"/>
          <ac:spMkLst>
            <pc:docMk/>
            <pc:sldMk cId="4162877925" sldId="284"/>
            <ac:spMk id="6" creationId="{DDD985C1-EC14-4239-A6AC-BAFC841624BE}"/>
          </ac:spMkLst>
        </pc:spChg>
      </pc:sldChg>
      <pc:sldChg chg="addSp delSp modSp mod">
        <pc:chgData name="Frederick King" userId="bb732f183fe92d5e" providerId="LiveId" clId="{753283EB-EBC0-413C-B840-BF1DF8182372}" dt="2021-04-21T13:54:38.662" v="21590" actId="3064"/>
        <pc:sldMkLst>
          <pc:docMk/>
          <pc:sldMk cId="2292278634" sldId="285"/>
        </pc:sldMkLst>
        <pc:spChg chg="mod">
          <ac:chgData name="Frederick King" userId="bb732f183fe92d5e" providerId="LiveId" clId="{753283EB-EBC0-413C-B840-BF1DF8182372}" dt="2021-03-30T12:58:08.650" v="9030" actId="948"/>
          <ac:spMkLst>
            <pc:docMk/>
            <pc:sldMk cId="2292278634" sldId="285"/>
            <ac:spMk id="2" creationId="{53D57545-5140-4A3C-9D72-E83217B177FF}"/>
          </ac:spMkLst>
        </pc:spChg>
        <pc:spChg chg="add del mod modVis">
          <ac:chgData name="Frederick King" userId="bb732f183fe92d5e" providerId="LiveId" clId="{753283EB-EBC0-413C-B840-BF1DF8182372}" dt="2021-03-30T12:58:02.304" v="8974"/>
          <ac:spMkLst>
            <pc:docMk/>
            <pc:sldMk cId="2292278634" sldId="285"/>
            <ac:spMk id="3" creationId="{26CEF913-20F1-498E-896B-A6D0F025AE0F}"/>
          </ac:spMkLst>
        </pc:spChg>
        <pc:spChg chg="add mod">
          <ac:chgData name="Frederick King" userId="bb732f183fe92d5e" providerId="LiveId" clId="{753283EB-EBC0-413C-B840-BF1DF8182372}" dt="2021-04-21T07:48:23.761" v="21524" actId="208"/>
          <ac:spMkLst>
            <pc:docMk/>
            <pc:sldMk cId="2292278634" sldId="285"/>
            <ac:spMk id="4" creationId="{476288C4-1A4D-44FB-9D4B-2220D896AD21}"/>
          </ac:spMkLst>
        </pc:spChg>
        <pc:spChg chg="add del mod modVis">
          <ac:chgData name="Frederick King" userId="bb732f183fe92d5e" providerId="LiveId" clId="{753283EB-EBC0-413C-B840-BF1DF8182372}" dt="2021-03-30T12:58:05.552" v="9018"/>
          <ac:spMkLst>
            <pc:docMk/>
            <pc:sldMk cId="2292278634" sldId="285"/>
            <ac:spMk id="4" creationId="{5B3F54E1-3954-4F13-884F-B2B002E9D79B}"/>
          </ac:spMkLst>
        </pc:spChg>
        <pc:spChg chg="add mod">
          <ac:chgData name="Frederick King" userId="bb732f183fe92d5e" providerId="LiveId" clId="{753283EB-EBC0-413C-B840-BF1DF8182372}" dt="2021-04-21T13:54:38.662" v="21590" actId="3064"/>
          <ac:spMkLst>
            <pc:docMk/>
            <pc:sldMk cId="2292278634" sldId="285"/>
            <ac:spMk id="6" creationId="{776A35D8-BE86-4782-A228-D7504F264ADE}"/>
          </ac:spMkLst>
        </pc:spChg>
        <pc:spChg chg="add del mod modVis">
          <ac:chgData name="Frederick King" userId="bb732f183fe92d5e" providerId="LiveId" clId="{753283EB-EBC0-413C-B840-BF1DF8182372}" dt="2021-03-30T12:58:08.681" v="9067"/>
          <ac:spMkLst>
            <pc:docMk/>
            <pc:sldMk cId="2292278634" sldId="285"/>
            <ac:spMk id="6" creationId="{E76D9898-1809-421B-9089-FAD002DD8C07}"/>
          </ac:spMkLst>
        </pc:spChg>
        <pc:spChg chg="del mod topLvl">
          <ac:chgData name="Frederick King" userId="bb732f183fe92d5e" providerId="LiveId" clId="{753283EB-EBC0-413C-B840-BF1DF8182372}" dt="2021-04-21T07:49:51.928" v="21563" actId="478"/>
          <ac:spMkLst>
            <pc:docMk/>
            <pc:sldMk cId="2292278634" sldId="285"/>
            <ac:spMk id="13" creationId="{6149B15B-3499-4277-AC4D-101AFDEE8413}"/>
          </ac:spMkLst>
        </pc:spChg>
        <pc:spChg chg="mod topLvl">
          <ac:chgData name="Frederick King" userId="bb732f183fe92d5e" providerId="LiveId" clId="{753283EB-EBC0-413C-B840-BF1DF8182372}" dt="2021-04-21T07:50:05.230" v="21564" actId="555"/>
          <ac:spMkLst>
            <pc:docMk/>
            <pc:sldMk cId="2292278634" sldId="285"/>
            <ac:spMk id="14" creationId="{F92632D8-0A0C-4E9A-B412-2B5F2A29D7EA}"/>
          </ac:spMkLst>
        </pc:spChg>
        <pc:spChg chg="del mod topLvl">
          <ac:chgData name="Frederick King" userId="bb732f183fe92d5e" providerId="LiveId" clId="{753283EB-EBC0-413C-B840-BF1DF8182372}" dt="2021-04-21T07:49:51.928" v="21563" actId="478"/>
          <ac:spMkLst>
            <pc:docMk/>
            <pc:sldMk cId="2292278634" sldId="285"/>
            <ac:spMk id="15" creationId="{B3517859-C802-4AE7-8462-95025B2AC458}"/>
          </ac:spMkLst>
        </pc:spChg>
        <pc:spChg chg="mod topLvl">
          <ac:chgData name="Frederick King" userId="bb732f183fe92d5e" providerId="LiveId" clId="{753283EB-EBC0-413C-B840-BF1DF8182372}" dt="2021-04-21T07:47:06.359" v="21451" actId="165"/>
          <ac:spMkLst>
            <pc:docMk/>
            <pc:sldMk cId="2292278634" sldId="285"/>
            <ac:spMk id="16" creationId="{5183802D-E9ED-4B08-9B06-91A42A6CF9F3}"/>
          </ac:spMkLst>
        </pc:spChg>
        <pc:spChg chg="del mod topLvl">
          <ac:chgData name="Frederick King" userId="bb732f183fe92d5e" providerId="LiveId" clId="{753283EB-EBC0-413C-B840-BF1DF8182372}" dt="2021-04-21T07:49:51.928" v="21563" actId="478"/>
          <ac:spMkLst>
            <pc:docMk/>
            <pc:sldMk cId="2292278634" sldId="285"/>
            <ac:spMk id="17" creationId="{F1CB76F9-BDFA-43E7-817F-C6FE1C3C7305}"/>
          </ac:spMkLst>
        </pc:spChg>
        <pc:spChg chg="mod topLvl">
          <ac:chgData name="Frederick King" userId="bb732f183fe92d5e" providerId="LiveId" clId="{753283EB-EBC0-413C-B840-BF1DF8182372}" dt="2021-04-21T07:49:18.680" v="21546" actId="555"/>
          <ac:spMkLst>
            <pc:docMk/>
            <pc:sldMk cId="2292278634" sldId="285"/>
            <ac:spMk id="18" creationId="{04F6D685-970E-47B8-9972-7140EC350C5D}"/>
          </ac:spMkLst>
        </pc:spChg>
        <pc:spChg chg="mod topLvl">
          <ac:chgData name="Frederick King" userId="bb732f183fe92d5e" providerId="LiveId" clId="{753283EB-EBC0-413C-B840-BF1DF8182372}" dt="2021-04-21T07:47:50.251" v="21498" actId="164"/>
          <ac:spMkLst>
            <pc:docMk/>
            <pc:sldMk cId="2292278634" sldId="285"/>
            <ac:spMk id="19" creationId="{03987D05-0270-4C0B-82C2-F9E1561130CB}"/>
          </ac:spMkLst>
        </pc:spChg>
        <pc:spChg chg="add mod">
          <ac:chgData name="Frederick King" userId="bb732f183fe92d5e" providerId="LiveId" clId="{753283EB-EBC0-413C-B840-BF1DF8182372}" dt="2021-03-30T08:24:17.015" v="3757"/>
          <ac:spMkLst>
            <pc:docMk/>
            <pc:sldMk cId="2292278634" sldId="285"/>
            <ac:spMk id="23" creationId="{08006145-E86D-4C9C-A7DE-6BE27C8A2F18}"/>
          </ac:spMkLst>
        </pc:spChg>
        <pc:spChg chg="add del mod">
          <ac:chgData name="Frederick King" userId="bb732f183fe92d5e" providerId="LiveId" clId="{753283EB-EBC0-413C-B840-BF1DF8182372}" dt="2021-03-29T13:51:11.516" v="987" actId="478"/>
          <ac:spMkLst>
            <pc:docMk/>
            <pc:sldMk cId="2292278634" sldId="285"/>
            <ac:spMk id="23" creationId="{F9526C4A-BF52-4C24-9298-91C1395CAA81}"/>
          </ac:spMkLst>
        </pc:spChg>
        <pc:spChg chg="add mod">
          <ac:chgData name="Frederick King" userId="bb732f183fe92d5e" providerId="LiveId" clId="{753283EB-EBC0-413C-B840-BF1DF8182372}" dt="2021-04-21T13:54:38.662" v="21590" actId="3064"/>
          <ac:spMkLst>
            <pc:docMk/>
            <pc:sldMk cId="2292278634" sldId="285"/>
            <ac:spMk id="24" creationId="{63146DCD-2E36-4527-871D-C324E56E002E}"/>
          </ac:spMkLst>
        </pc:spChg>
        <pc:spChg chg="del">
          <ac:chgData name="Frederick King" userId="bb732f183fe92d5e" providerId="LiveId" clId="{753283EB-EBC0-413C-B840-BF1DF8182372}" dt="2021-03-30T12:56:58.495" v="8897" actId="478"/>
          <ac:spMkLst>
            <pc:docMk/>
            <pc:sldMk cId="2292278634" sldId="285"/>
            <ac:spMk id="24" creationId="{82442119-2ACE-4FAB-9C9D-099D46C10FE7}"/>
          </ac:spMkLst>
        </pc:spChg>
        <pc:spChg chg="add mod">
          <ac:chgData name="Frederick King" userId="bb732f183fe92d5e" providerId="LiveId" clId="{753283EB-EBC0-413C-B840-BF1DF8182372}" dt="2021-04-21T13:54:38.662" v="21590" actId="3064"/>
          <ac:spMkLst>
            <pc:docMk/>
            <pc:sldMk cId="2292278634" sldId="285"/>
            <ac:spMk id="25" creationId="{52FCB073-43BC-444B-B1F4-BD1FFD070FD7}"/>
          </ac:spMkLst>
        </pc:spChg>
        <pc:spChg chg="add del mod">
          <ac:chgData name="Frederick King" userId="bb732f183fe92d5e" providerId="LiveId" clId="{753283EB-EBC0-413C-B840-BF1DF8182372}" dt="2021-03-30T14:17:28.787" v="17190" actId="478"/>
          <ac:spMkLst>
            <pc:docMk/>
            <pc:sldMk cId="2292278634" sldId="285"/>
            <ac:spMk id="25" creationId="{689EBD9B-9286-4F15-92E2-C8145FA8C918}"/>
          </ac:spMkLst>
        </pc:spChg>
        <pc:spChg chg="add del mod">
          <ac:chgData name="Frederick King" userId="bb732f183fe92d5e" providerId="LiveId" clId="{753283EB-EBC0-413C-B840-BF1DF8182372}" dt="2021-03-29T13:49:04.151" v="944"/>
          <ac:spMkLst>
            <pc:docMk/>
            <pc:sldMk cId="2292278634" sldId="285"/>
            <ac:spMk id="25" creationId="{B95673A1-63A9-413D-BAFB-BCB442035514}"/>
          </ac:spMkLst>
        </pc:spChg>
        <pc:spChg chg="add del mod">
          <ac:chgData name="Frederick King" userId="bb732f183fe92d5e" providerId="LiveId" clId="{753283EB-EBC0-413C-B840-BF1DF8182372}" dt="2021-03-30T13:24:16.724" v="16994" actId="478"/>
          <ac:spMkLst>
            <pc:docMk/>
            <pc:sldMk cId="2292278634" sldId="285"/>
            <ac:spMk id="26" creationId="{E1B778C9-7767-4CBF-8ADD-D30DC55C6D8E}"/>
          </ac:spMkLst>
        </pc:spChg>
        <pc:spChg chg="add mod">
          <ac:chgData name="Frederick King" userId="bb732f183fe92d5e" providerId="LiveId" clId="{753283EB-EBC0-413C-B840-BF1DF8182372}" dt="2021-03-30T14:17:29.187" v="17191"/>
          <ac:spMkLst>
            <pc:docMk/>
            <pc:sldMk cId="2292278634" sldId="285"/>
            <ac:spMk id="27" creationId="{FCDA8997-59CD-4C6C-9FCF-BD3522471489}"/>
          </ac:spMkLst>
        </pc:spChg>
        <pc:grpChg chg="add mod">
          <ac:chgData name="Frederick King" userId="bb732f183fe92d5e" providerId="LiveId" clId="{753283EB-EBC0-413C-B840-BF1DF8182372}" dt="2021-04-21T07:47:56.215" v="21516" actId="553"/>
          <ac:grpSpMkLst>
            <pc:docMk/>
            <pc:sldMk cId="2292278634" sldId="285"/>
            <ac:grpSpMk id="3" creationId="{A3CE13D6-695B-4064-A9A8-75454E1F2C62}"/>
          </ac:grpSpMkLst>
        </pc:grpChg>
        <pc:grpChg chg="del mod topLvl">
          <ac:chgData name="Frederick King" userId="bb732f183fe92d5e" providerId="LiveId" clId="{753283EB-EBC0-413C-B840-BF1DF8182372}" dt="2021-04-21T07:47:06.359" v="21451" actId="165"/>
          <ac:grpSpMkLst>
            <pc:docMk/>
            <pc:sldMk cId="2292278634" sldId="285"/>
            <ac:grpSpMk id="10" creationId="{2361F8DB-F7C8-4FF6-A8BE-6AFD5B89018A}"/>
          </ac:grpSpMkLst>
        </pc:grpChg>
        <pc:grpChg chg="del mod topLvl">
          <ac:chgData name="Frederick King" userId="bb732f183fe92d5e" providerId="LiveId" clId="{753283EB-EBC0-413C-B840-BF1DF8182372}" dt="2021-04-21T07:47:06.359" v="21451" actId="165"/>
          <ac:grpSpMkLst>
            <pc:docMk/>
            <pc:sldMk cId="2292278634" sldId="285"/>
            <ac:grpSpMk id="11" creationId="{6FA91408-4265-4C28-968A-59E0492E6A13}"/>
          </ac:grpSpMkLst>
        </pc:grpChg>
        <pc:grpChg chg="del mod topLvl">
          <ac:chgData name="Frederick King" userId="bb732f183fe92d5e" providerId="LiveId" clId="{753283EB-EBC0-413C-B840-BF1DF8182372}" dt="2021-04-21T07:47:06.359" v="21451" actId="165"/>
          <ac:grpSpMkLst>
            <pc:docMk/>
            <pc:sldMk cId="2292278634" sldId="285"/>
            <ac:grpSpMk id="12" creationId="{B58A16A6-315E-4C95-8D0C-6E72453B7449}"/>
          </ac:grpSpMkLst>
        </pc:grpChg>
        <pc:grpChg chg="del mod topLvl">
          <ac:chgData name="Frederick King" userId="bb732f183fe92d5e" providerId="LiveId" clId="{753283EB-EBC0-413C-B840-BF1DF8182372}" dt="2021-04-21T07:47:06.359" v="21451" actId="165"/>
          <ac:grpSpMkLst>
            <pc:docMk/>
            <pc:sldMk cId="2292278634" sldId="285"/>
            <ac:grpSpMk id="21" creationId="{463C6D32-F9EB-4033-8647-611EC8BEA571}"/>
          </ac:grpSpMkLst>
        </pc:grpChg>
        <pc:grpChg chg="del">
          <ac:chgData name="Frederick King" userId="bb732f183fe92d5e" providerId="LiveId" clId="{753283EB-EBC0-413C-B840-BF1DF8182372}" dt="2021-04-21T07:47:05.029" v="21450" actId="165"/>
          <ac:grpSpMkLst>
            <pc:docMk/>
            <pc:sldMk cId="2292278634" sldId="285"/>
            <ac:grpSpMk id="22" creationId="{90071036-F3DE-4E52-B23E-1036F88EA9E1}"/>
          </ac:grpSpMkLst>
        </pc:grpChg>
        <pc:graphicFrameChg chg="mod">
          <ac:chgData name="Frederick King" userId="bb732f183fe92d5e" providerId="LiveId" clId="{753283EB-EBC0-413C-B840-BF1DF8182372}" dt="2021-03-30T12:58:08.681" v="9069"/>
          <ac:graphicFrameMkLst>
            <pc:docMk/>
            <pc:sldMk cId="2292278634" sldId="285"/>
            <ac:graphicFrameMk id="5" creationId="{5F987C95-A4ED-4F72-B551-C73C14F50343}"/>
          </ac:graphicFrameMkLst>
        </pc:graphicFrameChg>
        <pc:cxnChg chg="mod topLvl">
          <ac:chgData name="Frederick King" userId="bb732f183fe92d5e" providerId="LiveId" clId="{753283EB-EBC0-413C-B840-BF1DF8182372}" dt="2021-04-21T07:47:56.215" v="21516" actId="553"/>
          <ac:cxnSpMkLst>
            <pc:docMk/>
            <pc:sldMk cId="2292278634" sldId="285"/>
            <ac:cxnSpMk id="8" creationId="{BBE91C8D-C016-4027-A56A-6287023E23DB}"/>
          </ac:cxnSpMkLst>
        </pc:cxnChg>
        <pc:cxnChg chg="mod topLvl">
          <ac:chgData name="Frederick King" userId="bb732f183fe92d5e" providerId="LiveId" clId="{753283EB-EBC0-413C-B840-BF1DF8182372}" dt="2021-04-21T07:47:33.269" v="21496" actId="553"/>
          <ac:cxnSpMkLst>
            <pc:docMk/>
            <pc:sldMk cId="2292278634" sldId="285"/>
            <ac:cxnSpMk id="9" creationId="{27D7B754-8F86-4E60-AD69-4CFF1DB24711}"/>
          </ac:cxnSpMkLst>
        </pc:cxnChg>
        <pc:cxnChg chg="mod topLvl">
          <ac:chgData name="Frederick King" userId="bb732f183fe92d5e" providerId="LiveId" clId="{753283EB-EBC0-413C-B840-BF1DF8182372}" dt="2021-04-21T07:47:50.251" v="21498" actId="164"/>
          <ac:cxnSpMkLst>
            <pc:docMk/>
            <pc:sldMk cId="2292278634" sldId="285"/>
            <ac:cxnSpMk id="20" creationId="{475A11A2-49FF-4E04-B7E0-E59E41D96EAB}"/>
          </ac:cxnSpMkLst>
        </pc:cxnChg>
      </pc:sldChg>
      <pc:sldChg chg="addSp delSp modSp mod">
        <pc:chgData name="Frederick King" userId="bb732f183fe92d5e" providerId="LiveId" clId="{753283EB-EBC0-413C-B840-BF1DF8182372}" dt="2021-04-21T13:53:29.708" v="21581" actId="2085"/>
        <pc:sldMkLst>
          <pc:docMk/>
          <pc:sldMk cId="61405604" sldId="286"/>
        </pc:sldMkLst>
        <pc:spChg chg="mod">
          <ac:chgData name="Frederick King" userId="bb732f183fe92d5e" providerId="LiveId" clId="{753283EB-EBC0-413C-B840-BF1DF8182372}" dt="2021-03-30T13:00:00.352" v="9358" actId="948"/>
          <ac:spMkLst>
            <pc:docMk/>
            <pc:sldMk cId="61405604" sldId="286"/>
            <ac:spMk id="2" creationId="{4EDD9BB2-6456-4A59-B05A-928CE78EF279}"/>
          </ac:spMkLst>
        </pc:spChg>
        <pc:spChg chg="add del mod modVis">
          <ac:chgData name="Frederick King" userId="bb732f183fe92d5e" providerId="LiveId" clId="{753283EB-EBC0-413C-B840-BF1DF8182372}" dt="2021-03-30T12:59:53.371" v="9178"/>
          <ac:spMkLst>
            <pc:docMk/>
            <pc:sldMk cId="61405604" sldId="286"/>
            <ac:spMk id="3" creationId="{13CE5F32-C2EB-445A-AFE0-8E9677873932}"/>
          </ac:spMkLst>
        </pc:spChg>
        <pc:spChg chg="del mod">
          <ac:chgData name="Frederick King" userId="bb732f183fe92d5e" providerId="LiveId" clId="{753283EB-EBC0-413C-B840-BF1DF8182372}" dt="2021-04-07T10:23:49.814" v="21217" actId="478"/>
          <ac:spMkLst>
            <pc:docMk/>
            <pc:sldMk cId="61405604" sldId="286"/>
            <ac:spMk id="5" creationId="{BC6175E2-2F91-49C6-B372-A27AA4E27DFA}"/>
          </ac:spMkLst>
        </pc:spChg>
        <pc:spChg chg="mod">
          <ac:chgData name="Frederick King" userId="bb732f183fe92d5e" providerId="LiveId" clId="{753283EB-EBC0-413C-B840-BF1DF8182372}" dt="2021-04-21T13:53:29.708" v="21581" actId="2085"/>
          <ac:spMkLst>
            <pc:docMk/>
            <pc:sldMk cId="61405604" sldId="286"/>
            <ac:spMk id="6" creationId="{BCD77FC3-1A09-459D-B2AD-890CEE6E3349}"/>
          </ac:spMkLst>
        </pc:spChg>
        <pc:spChg chg="mod">
          <ac:chgData name="Frederick King" userId="bb732f183fe92d5e" providerId="LiveId" clId="{753283EB-EBC0-413C-B840-BF1DF8182372}" dt="2021-04-01T11:43:32.663" v="20891" actId="1036"/>
          <ac:spMkLst>
            <pc:docMk/>
            <pc:sldMk cId="61405604" sldId="286"/>
            <ac:spMk id="7" creationId="{0795C69C-FE4A-463E-AE4E-37AE1DC01759}"/>
          </ac:spMkLst>
        </pc:spChg>
        <pc:spChg chg="mod">
          <ac:chgData name="Frederick King" userId="bb732f183fe92d5e" providerId="LiveId" clId="{753283EB-EBC0-413C-B840-BF1DF8182372}" dt="2021-04-21T13:53:09.673" v="21577" actId="207"/>
          <ac:spMkLst>
            <pc:docMk/>
            <pc:sldMk cId="61405604" sldId="286"/>
            <ac:spMk id="8" creationId="{2A0818E3-F29A-4B88-A536-EFBDC5BA460B}"/>
          </ac:spMkLst>
        </pc:spChg>
        <pc:spChg chg="mod">
          <ac:chgData name="Frederick King" userId="bb732f183fe92d5e" providerId="LiveId" clId="{753283EB-EBC0-413C-B840-BF1DF8182372}" dt="2021-04-20T11:54:16.555" v="21363" actId="12"/>
          <ac:spMkLst>
            <pc:docMk/>
            <pc:sldMk cId="61405604" sldId="286"/>
            <ac:spMk id="9" creationId="{FBFF7BBD-E5E2-4A63-A6B1-AB6CCB651167}"/>
          </ac:spMkLst>
        </pc:spChg>
        <pc:spChg chg="mod">
          <ac:chgData name="Frederick King" userId="bb732f183fe92d5e" providerId="LiveId" clId="{753283EB-EBC0-413C-B840-BF1DF8182372}" dt="2021-04-21T13:53:09.673" v="21577" actId="207"/>
          <ac:spMkLst>
            <pc:docMk/>
            <pc:sldMk cId="61405604" sldId="286"/>
            <ac:spMk id="10" creationId="{E97E98F6-3CDD-451B-9DB7-42BD1DEB5865}"/>
          </ac:spMkLst>
        </pc:spChg>
        <pc:spChg chg="mod">
          <ac:chgData name="Frederick King" userId="bb732f183fe92d5e" providerId="LiveId" clId="{753283EB-EBC0-413C-B840-BF1DF8182372}" dt="2021-04-20T11:54:16.555" v="21363" actId="12"/>
          <ac:spMkLst>
            <pc:docMk/>
            <pc:sldMk cId="61405604" sldId="286"/>
            <ac:spMk id="11" creationId="{96E24C05-E909-4715-914C-01F5F72ABC12}"/>
          </ac:spMkLst>
        </pc:spChg>
        <pc:spChg chg="mod">
          <ac:chgData name="Frederick King" userId="bb732f183fe92d5e" providerId="LiveId" clId="{753283EB-EBC0-413C-B840-BF1DF8182372}" dt="2021-04-21T13:53:09.673" v="21577" actId="207"/>
          <ac:spMkLst>
            <pc:docMk/>
            <pc:sldMk cId="61405604" sldId="286"/>
            <ac:spMk id="12" creationId="{E70EC451-61E3-4E2F-BB9A-F60FC1A4110E}"/>
          </ac:spMkLst>
        </pc:spChg>
        <pc:spChg chg="mod">
          <ac:chgData name="Frederick King" userId="bb732f183fe92d5e" providerId="LiveId" clId="{753283EB-EBC0-413C-B840-BF1DF8182372}" dt="2021-04-20T11:54:16.555" v="21363" actId="12"/>
          <ac:spMkLst>
            <pc:docMk/>
            <pc:sldMk cId="61405604" sldId="286"/>
            <ac:spMk id="13" creationId="{D2030545-F5A7-4075-84FC-52988A3DF5CF}"/>
          </ac:spMkLst>
        </pc:spChg>
        <pc:spChg chg="mod">
          <ac:chgData name="Frederick King" userId="bb732f183fe92d5e" providerId="LiveId" clId="{753283EB-EBC0-413C-B840-BF1DF8182372}" dt="2021-04-21T13:53:09.673" v="21577" actId="207"/>
          <ac:spMkLst>
            <pc:docMk/>
            <pc:sldMk cId="61405604" sldId="286"/>
            <ac:spMk id="14" creationId="{8F16061B-63DF-4B48-A23A-161FD4A3BDD6}"/>
          </ac:spMkLst>
        </pc:spChg>
        <pc:spChg chg="mod">
          <ac:chgData name="Frederick King" userId="bb732f183fe92d5e" providerId="LiveId" clId="{753283EB-EBC0-413C-B840-BF1DF8182372}" dt="2021-04-20T11:54:16.555" v="21363" actId="12"/>
          <ac:spMkLst>
            <pc:docMk/>
            <pc:sldMk cId="61405604" sldId="286"/>
            <ac:spMk id="15" creationId="{A97D3CFC-E436-49BE-AFCF-8EA0AB34A505}"/>
          </ac:spMkLst>
        </pc:spChg>
        <pc:spChg chg="add del mod">
          <ac:chgData name="Frederick King" userId="bb732f183fe92d5e" providerId="LiveId" clId="{753283EB-EBC0-413C-B840-BF1DF8182372}" dt="2021-03-29T13:51:14.512" v="989" actId="478"/>
          <ac:spMkLst>
            <pc:docMk/>
            <pc:sldMk cId="61405604" sldId="286"/>
            <ac:spMk id="16" creationId="{19EF1800-2FAB-4C8C-B94B-DE52144F90B1}"/>
          </ac:spMkLst>
        </pc:spChg>
        <pc:spChg chg="add del mod modVis">
          <ac:chgData name="Frederick King" userId="bb732f183fe92d5e" providerId="LiveId" clId="{753283EB-EBC0-413C-B840-BF1DF8182372}" dt="2021-03-30T12:59:55.128" v="9221"/>
          <ac:spMkLst>
            <pc:docMk/>
            <pc:sldMk cId="61405604" sldId="286"/>
            <ac:spMk id="16" creationId="{283B8025-676C-4E02-B6E7-D3184FD429AD}"/>
          </ac:spMkLst>
        </pc:spChg>
        <pc:spChg chg="add del mod modVis">
          <ac:chgData name="Frederick King" userId="bb732f183fe92d5e" providerId="LiveId" clId="{753283EB-EBC0-413C-B840-BF1DF8182372}" dt="2021-03-30T12:59:56.342" v="9265"/>
          <ac:spMkLst>
            <pc:docMk/>
            <pc:sldMk cId="61405604" sldId="286"/>
            <ac:spMk id="17" creationId="{211AE318-36F6-49D8-8B36-E675A04CDEA8}"/>
          </ac:spMkLst>
        </pc:spChg>
        <pc:spChg chg="del">
          <ac:chgData name="Frederick King" userId="bb732f183fe92d5e" providerId="LiveId" clId="{753283EB-EBC0-413C-B840-BF1DF8182372}" dt="2021-03-30T08:24:20.717" v="3758" actId="478"/>
          <ac:spMkLst>
            <pc:docMk/>
            <pc:sldMk cId="61405604" sldId="286"/>
            <ac:spMk id="17" creationId="{E5F32CF3-8525-462B-87BD-F6D18AE7B6F5}"/>
          </ac:spMkLst>
        </pc:spChg>
        <pc:spChg chg="add mod">
          <ac:chgData name="Frederick King" userId="bb732f183fe92d5e" providerId="LiveId" clId="{753283EB-EBC0-413C-B840-BF1DF8182372}" dt="2021-03-30T14:17:22.177" v="17189" actId="2711"/>
          <ac:spMkLst>
            <pc:docMk/>
            <pc:sldMk cId="61405604" sldId="286"/>
            <ac:spMk id="18" creationId="{EF8F0026-93D9-41DE-84DE-F5C2A2F8B9E2}"/>
          </ac:spMkLst>
        </pc:spChg>
        <pc:spChg chg="add mod">
          <ac:chgData name="Frederick King" userId="bb732f183fe92d5e" providerId="LiveId" clId="{753283EB-EBC0-413C-B840-BF1DF8182372}" dt="2021-03-30T08:24:20.976" v="3759"/>
          <ac:spMkLst>
            <pc:docMk/>
            <pc:sldMk cId="61405604" sldId="286"/>
            <ac:spMk id="19" creationId="{9AD10914-3570-4ED9-B62D-585F98FDA3CD}"/>
          </ac:spMkLst>
        </pc:spChg>
        <pc:spChg chg="add del mod modVis">
          <ac:chgData name="Frederick King" userId="bb732f183fe92d5e" providerId="LiveId" clId="{753283EB-EBC0-413C-B840-BF1DF8182372}" dt="2021-03-30T12:59:57.276" v="9309"/>
          <ac:spMkLst>
            <pc:docMk/>
            <pc:sldMk cId="61405604" sldId="286"/>
            <ac:spMk id="20" creationId="{E8762A7D-0A66-4DAC-991B-B2A723B19803}"/>
          </ac:spMkLst>
        </pc:spChg>
        <pc:spChg chg="add del mod modVis">
          <ac:chgData name="Frederick King" userId="bb732f183fe92d5e" providerId="LiveId" clId="{753283EB-EBC0-413C-B840-BF1DF8182372}" dt="2021-03-30T12:59:59.497" v="9353"/>
          <ac:spMkLst>
            <pc:docMk/>
            <pc:sldMk cId="61405604" sldId="286"/>
            <ac:spMk id="21" creationId="{C0E08BDF-E401-4072-85B4-7899583663FD}"/>
          </ac:spMkLst>
        </pc:spChg>
        <pc:spChg chg="add del mod modVis">
          <ac:chgData name="Frederick King" userId="bb732f183fe92d5e" providerId="LiveId" clId="{753283EB-EBC0-413C-B840-BF1DF8182372}" dt="2021-03-30T13:00:00.383" v="9395"/>
          <ac:spMkLst>
            <pc:docMk/>
            <pc:sldMk cId="61405604" sldId="286"/>
            <ac:spMk id="22" creationId="{CABB8B93-F633-4086-BE0A-CCBF291DAF75}"/>
          </ac:spMkLst>
        </pc:spChg>
        <pc:graphicFrameChg chg="mod">
          <ac:chgData name="Frederick King" userId="bb732f183fe92d5e" providerId="LiveId" clId="{753283EB-EBC0-413C-B840-BF1DF8182372}" dt="2021-03-30T13:00:00.383" v="9397"/>
          <ac:graphicFrameMkLst>
            <pc:docMk/>
            <pc:sldMk cId="61405604" sldId="286"/>
            <ac:graphicFrameMk id="4" creationId="{FF06BB48-B0E5-41AF-B5B7-C7A2F69B0F35}"/>
          </ac:graphicFrameMkLst>
        </pc:graphicFrameChg>
        <pc:cxnChg chg="add del mod">
          <ac:chgData name="Frederick King" userId="bb732f183fe92d5e" providerId="LiveId" clId="{753283EB-EBC0-413C-B840-BF1DF8182372}" dt="2021-04-07T10:23:49.814" v="21217" actId="478"/>
          <ac:cxnSpMkLst>
            <pc:docMk/>
            <pc:sldMk cId="61405604" sldId="286"/>
            <ac:cxnSpMk id="23" creationId="{1ECD4DE6-0F43-41C0-8E1F-D0EC5E5A0B37}"/>
          </ac:cxnSpMkLst>
        </pc:cxnChg>
        <pc:cxnChg chg="add mod">
          <ac:chgData name="Frederick King" userId="bb732f183fe92d5e" providerId="LiveId" clId="{753283EB-EBC0-413C-B840-BF1DF8182372}" dt="2021-04-01T11:43:32.663" v="20891" actId="1036"/>
          <ac:cxnSpMkLst>
            <pc:docMk/>
            <pc:sldMk cId="61405604" sldId="286"/>
            <ac:cxnSpMk id="24" creationId="{B90BB879-7C01-436F-9878-008037483219}"/>
          </ac:cxnSpMkLst>
        </pc:cxnChg>
        <pc:cxnChg chg="add mod">
          <ac:chgData name="Frederick King" userId="bb732f183fe92d5e" providerId="LiveId" clId="{753283EB-EBC0-413C-B840-BF1DF8182372}" dt="2021-04-01T11:43:32.663" v="20891" actId="1036"/>
          <ac:cxnSpMkLst>
            <pc:docMk/>
            <pc:sldMk cId="61405604" sldId="286"/>
            <ac:cxnSpMk id="25" creationId="{6F6F7A5E-C62B-4A94-B080-7B5B09974FF6}"/>
          </ac:cxnSpMkLst>
        </pc:cxnChg>
        <pc:cxnChg chg="add mod">
          <ac:chgData name="Frederick King" userId="bb732f183fe92d5e" providerId="LiveId" clId="{753283EB-EBC0-413C-B840-BF1DF8182372}" dt="2021-03-30T13:32:44.327" v="17121" actId="555"/>
          <ac:cxnSpMkLst>
            <pc:docMk/>
            <pc:sldMk cId="61405604" sldId="286"/>
            <ac:cxnSpMk id="26" creationId="{389FA09A-EC8A-439A-B112-8F4D1B2A0C00}"/>
          </ac:cxnSpMkLst>
        </pc:cxnChg>
        <pc:cxnChg chg="add mod">
          <ac:chgData name="Frederick King" userId="bb732f183fe92d5e" providerId="LiveId" clId="{753283EB-EBC0-413C-B840-BF1DF8182372}" dt="2021-03-30T13:32:54.623" v="17125" actId="555"/>
          <ac:cxnSpMkLst>
            <pc:docMk/>
            <pc:sldMk cId="61405604" sldId="286"/>
            <ac:cxnSpMk id="27" creationId="{C03A33EE-A716-471C-AC8E-230A8FA312F0}"/>
          </ac:cxnSpMkLst>
        </pc:cxnChg>
      </pc:sldChg>
      <pc:sldChg chg="modSp add del mod">
        <pc:chgData name="Frederick King" userId="bb732f183fe92d5e" providerId="LiveId" clId="{753283EB-EBC0-413C-B840-BF1DF8182372}" dt="2021-03-31T11:29:21.860" v="19156" actId="47"/>
        <pc:sldMkLst>
          <pc:docMk/>
          <pc:sldMk cId="1608637333" sldId="287"/>
        </pc:sldMkLst>
        <pc:spChg chg="mod">
          <ac:chgData name="Frederick King" userId="bb732f183fe92d5e" providerId="LiveId" clId="{753283EB-EBC0-413C-B840-BF1DF8182372}" dt="2021-03-31T09:31:54.896" v="19124" actId="113"/>
          <ac:spMkLst>
            <pc:docMk/>
            <pc:sldMk cId="1608637333" sldId="287"/>
            <ac:spMk id="10" creationId="{D6CC0A4C-2BF6-4689-ABFE-59FB61B4782B}"/>
          </ac:spMkLst>
        </pc:spChg>
      </pc:sldChg>
      <pc:sldChg chg="addSp delSp modSp add del mod">
        <pc:chgData name="Frederick King" userId="bb732f183fe92d5e" providerId="LiveId" clId="{753283EB-EBC0-413C-B840-BF1DF8182372}" dt="2021-03-31T09:19:15.084" v="18063" actId="2696"/>
        <pc:sldMkLst>
          <pc:docMk/>
          <pc:sldMk cId="2710262930" sldId="287"/>
        </pc:sldMkLst>
        <pc:spChg chg="mod">
          <ac:chgData name="Frederick King" userId="bb732f183fe92d5e" providerId="LiveId" clId="{753283EB-EBC0-413C-B840-BF1DF8182372}" dt="2021-03-29T11:50:08.672" v="249" actId="948"/>
          <ac:spMkLst>
            <pc:docMk/>
            <pc:sldMk cId="2710262930" sldId="287"/>
            <ac:spMk id="2" creationId="{2C72BAFB-38D4-4258-BA15-1CFBBCCB4463}"/>
          </ac:spMkLst>
        </pc:spChg>
        <pc:spChg chg="add del mod modVis">
          <ac:chgData name="Frederick King" userId="bb732f183fe92d5e" providerId="LiveId" clId="{753283EB-EBC0-413C-B840-BF1DF8182372}" dt="2021-03-29T11:50:00.207" v="176"/>
          <ac:spMkLst>
            <pc:docMk/>
            <pc:sldMk cId="2710262930" sldId="287"/>
            <ac:spMk id="3" creationId="{24A1BB84-9276-467B-AB08-5FFBF1A9FE24}"/>
          </ac:spMkLst>
        </pc:spChg>
        <pc:spChg chg="add del mod modVis">
          <ac:chgData name="Frederick King" userId="bb732f183fe92d5e" providerId="LiveId" clId="{753283EB-EBC0-413C-B840-BF1DF8182372}" dt="2021-03-29T11:50:01.694" v="218"/>
          <ac:spMkLst>
            <pc:docMk/>
            <pc:sldMk cId="2710262930" sldId="287"/>
            <ac:spMk id="4" creationId="{33483742-0250-4192-8B89-C9A30E0D8375}"/>
          </ac:spMkLst>
        </pc:spChg>
        <pc:spChg chg="del">
          <ac:chgData name="Frederick King" userId="bb732f183fe92d5e" providerId="LiveId" clId="{753283EB-EBC0-413C-B840-BF1DF8182372}" dt="2021-03-29T11:49:56.124" v="137" actId="478"/>
          <ac:spMkLst>
            <pc:docMk/>
            <pc:sldMk cId="2710262930" sldId="287"/>
            <ac:spMk id="5" creationId="{B31C416B-DB54-499B-9CD0-2251F000CCEB}"/>
          </ac:spMkLst>
        </pc:spChg>
        <pc:spChg chg="del">
          <ac:chgData name="Frederick King" userId="bb732f183fe92d5e" providerId="LiveId" clId="{753283EB-EBC0-413C-B840-BF1DF8182372}" dt="2021-03-29T11:49:56.124" v="137" actId="478"/>
          <ac:spMkLst>
            <pc:docMk/>
            <pc:sldMk cId="2710262930" sldId="287"/>
            <ac:spMk id="6" creationId="{C6603FAD-9C84-46A6-B9DB-52EF18C21C65}"/>
          </ac:spMkLst>
        </pc:spChg>
        <pc:spChg chg="add mod">
          <ac:chgData name="Frederick King" userId="bb732f183fe92d5e" providerId="LiveId" clId="{753283EB-EBC0-413C-B840-BF1DF8182372}" dt="2021-03-30T08:23:58.113" v="3751"/>
          <ac:spMkLst>
            <pc:docMk/>
            <pc:sldMk cId="2710262930" sldId="287"/>
            <ac:spMk id="7" creationId="{F6C60381-D117-4A68-BD49-F0A5C1C11865}"/>
          </ac:spMkLst>
        </pc:spChg>
        <pc:spChg chg="add del mod">
          <ac:chgData name="Frederick King" userId="bb732f183fe92d5e" providerId="LiveId" clId="{753283EB-EBC0-413C-B840-BF1DF8182372}" dt="2021-03-30T14:17:41.690" v="17196" actId="478"/>
          <ac:spMkLst>
            <pc:docMk/>
            <pc:sldMk cId="2710262930" sldId="287"/>
            <ac:spMk id="8" creationId="{1A43207A-A2D6-4B7E-848D-CF9D83E2AC23}"/>
          </ac:spMkLst>
        </pc:spChg>
        <pc:spChg chg="del">
          <ac:chgData name="Frederick King" userId="bb732f183fe92d5e" providerId="LiveId" clId="{753283EB-EBC0-413C-B840-BF1DF8182372}" dt="2021-03-29T11:49:56.124" v="137" actId="478"/>
          <ac:spMkLst>
            <pc:docMk/>
            <pc:sldMk cId="2710262930" sldId="287"/>
            <ac:spMk id="8" creationId="{A5B5FE28-691C-42F9-AC24-7A6546E33E89}"/>
          </ac:spMkLst>
        </pc:spChg>
        <pc:spChg chg="del">
          <ac:chgData name="Frederick King" userId="bb732f183fe92d5e" providerId="LiveId" clId="{753283EB-EBC0-413C-B840-BF1DF8182372}" dt="2021-03-29T11:49:56.124" v="137" actId="478"/>
          <ac:spMkLst>
            <pc:docMk/>
            <pc:sldMk cId="2710262930" sldId="287"/>
            <ac:spMk id="9" creationId="{4BFBE253-46C2-4A5A-B92B-D6E79BFB03EC}"/>
          </ac:spMkLst>
        </pc:spChg>
        <pc:spChg chg="add mod">
          <ac:chgData name="Frederick King" userId="bb732f183fe92d5e" providerId="LiveId" clId="{753283EB-EBC0-413C-B840-BF1DF8182372}" dt="2021-03-30T14:17:42.097" v="17197"/>
          <ac:spMkLst>
            <pc:docMk/>
            <pc:sldMk cId="2710262930" sldId="287"/>
            <ac:spMk id="9" creationId="{F7EE9892-A066-463D-9916-4B2E2F11CBA4}"/>
          </ac:spMkLst>
        </pc:spChg>
        <pc:spChg chg="add mod">
          <ac:chgData name="Frederick King" userId="bb732f183fe92d5e" providerId="LiveId" clId="{753283EB-EBC0-413C-B840-BF1DF8182372}" dt="2021-03-29T11:53:30.451" v="733" actId="20577"/>
          <ac:spMkLst>
            <pc:docMk/>
            <pc:sldMk cId="2710262930" sldId="287"/>
            <ac:spMk id="10" creationId="{D6CC0A4C-2BF6-4689-ABFE-59FB61B4782B}"/>
          </ac:spMkLst>
        </pc:spChg>
        <pc:spChg chg="add del mod">
          <ac:chgData name="Frederick King" userId="bb732f183fe92d5e" providerId="LiveId" clId="{753283EB-EBC0-413C-B840-BF1DF8182372}" dt="2021-03-29T13:50:59.387" v="981" actId="478"/>
          <ac:spMkLst>
            <pc:docMk/>
            <pc:sldMk cId="2710262930" sldId="287"/>
            <ac:spMk id="13" creationId="{1A1D8B35-CCB3-4B2B-AA57-66D2E11D489D}"/>
          </ac:spMkLst>
        </pc:spChg>
        <pc:spChg chg="add del mod">
          <ac:chgData name="Frederick King" userId="bb732f183fe92d5e" providerId="LiveId" clId="{753283EB-EBC0-413C-B840-BF1DF8182372}" dt="2021-03-30T13:24:29.003" v="17000" actId="478"/>
          <ac:spMkLst>
            <pc:docMk/>
            <pc:sldMk cId="2710262930" sldId="287"/>
            <ac:spMk id="14" creationId="{B6BF85A1-1CE7-4CF5-9000-6AC1529F4D18}"/>
          </ac:spMkLst>
        </pc:spChg>
        <pc:spChg chg="del">
          <ac:chgData name="Frederick King" userId="bb732f183fe92d5e" providerId="LiveId" clId="{753283EB-EBC0-413C-B840-BF1DF8182372}" dt="2021-03-30T08:24:01.535" v="3752" actId="478"/>
          <ac:spMkLst>
            <pc:docMk/>
            <pc:sldMk cId="2710262930" sldId="287"/>
            <ac:spMk id="19" creationId="{8D888209-7751-44A7-B3BA-BA6313283FF3}"/>
          </ac:spMkLst>
        </pc:spChg>
        <pc:graphicFrameChg chg="mod">
          <ac:chgData name="Frederick King" userId="bb732f183fe92d5e" providerId="LiveId" clId="{753283EB-EBC0-413C-B840-BF1DF8182372}" dt="2021-03-29T11:50:08.678" v="251"/>
          <ac:graphicFrameMkLst>
            <pc:docMk/>
            <pc:sldMk cId="2710262930" sldId="287"/>
            <ac:graphicFrameMk id="11" creationId="{EFB91133-0E2F-48F6-A178-B17E2BEC5EAB}"/>
          </ac:graphicFrameMkLst>
        </pc:graphicFrameChg>
        <pc:cxnChg chg="add del mod">
          <ac:chgData name="Frederick King" userId="bb732f183fe92d5e" providerId="LiveId" clId="{753283EB-EBC0-413C-B840-BF1DF8182372}" dt="2021-03-29T11:50:10.464" v="256"/>
          <ac:cxnSpMkLst>
            <pc:docMk/>
            <pc:sldMk cId="2710262930" sldId="287"/>
            <ac:cxnSpMk id="7" creationId="{C6ABA789-87AB-4A7B-8B44-9ED89D95AED3}"/>
          </ac:cxnSpMkLst>
        </pc:cxnChg>
      </pc:sldChg>
      <pc:sldChg chg="addSp delSp modSp add mod ord">
        <pc:chgData name="Frederick King" userId="bb732f183fe92d5e" providerId="LiveId" clId="{753283EB-EBC0-413C-B840-BF1DF8182372}" dt="2021-04-21T13:46:47.163" v="21568" actId="6549"/>
        <pc:sldMkLst>
          <pc:docMk/>
          <pc:sldMk cId="1159684995" sldId="288"/>
        </pc:sldMkLst>
        <pc:spChg chg="mod">
          <ac:chgData name="Frederick King" userId="bb732f183fe92d5e" providerId="LiveId" clId="{753283EB-EBC0-413C-B840-BF1DF8182372}" dt="2021-04-20T09:12:30.267" v="21260" actId="20577"/>
          <ac:spMkLst>
            <pc:docMk/>
            <pc:sldMk cId="1159684995" sldId="288"/>
            <ac:spMk id="2" creationId="{88395490-5244-46CE-8656-58BB910011B6}"/>
          </ac:spMkLst>
        </pc:spChg>
        <pc:spChg chg="del">
          <ac:chgData name="Frederick King" userId="bb732f183fe92d5e" providerId="LiveId" clId="{753283EB-EBC0-413C-B840-BF1DF8182372}" dt="2021-03-29T16:57:07.271" v="2458" actId="478"/>
          <ac:spMkLst>
            <pc:docMk/>
            <pc:sldMk cId="1159684995" sldId="288"/>
            <ac:spMk id="4" creationId="{D3673574-F330-47E9-883D-2649864648AE}"/>
          </ac:spMkLst>
        </pc:spChg>
        <pc:spChg chg="add del mod modVis">
          <ac:chgData name="Frederick King" userId="bb732f183fe92d5e" providerId="LiveId" clId="{753283EB-EBC0-413C-B840-BF1DF8182372}" dt="2021-03-29T16:53:03.852" v="1916"/>
          <ac:spMkLst>
            <pc:docMk/>
            <pc:sldMk cId="1159684995" sldId="288"/>
            <ac:spMk id="6" creationId="{3AB47D0C-AD5B-4EEA-8073-A806C259F731}"/>
          </ac:spMkLst>
        </pc:spChg>
        <pc:spChg chg="del">
          <ac:chgData name="Frederick King" userId="bb732f183fe92d5e" providerId="LiveId" clId="{753283EB-EBC0-413C-B840-BF1DF8182372}" dt="2021-03-29T13:50:26.467" v="965" actId="478"/>
          <ac:spMkLst>
            <pc:docMk/>
            <pc:sldMk cId="1159684995" sldId="288"/>
            <ac:spMk id="8" creationId="{A86C64D9-6ADC-41AE-A988-A7D14F39C136}"/>
          </ac:spMkLst>
        </pc:spChg>
        <pc:spChg chg="add del mod">
          <ac:chgData name="Frederick King" userId="bb732f183fe92d5e" providerId="LiveId" clId="{753283EB-EBC0-413C-B840-BF1DF8182372}" dt="2021-03-30T13:25:04.439" v="17019" actId="478"/>
          <ac:spMkLst>
            <pc:docMk/>
            <pc:sldMk cId="1159684995" sldId="288"/>
            <ac:spMk id="10" creationId="{CABE96F2-36CA-4675-8B90-6398B8994F8E}"/>
          </ac:spMkLst>
        </pc:spChg>
        <pc:spChg chg="add del mod topLvl">
          <ac:chgData name="Frederick King" userId="bb732f183fe92d5e" providerId="LiveId" clId="{753283EB-EBC0-413C-B840-BF1DF8182372}" dt="2021-03-29T16:51:52.296" v="1819" actId="478"/>
          <ac:spMkLst>
            <pc:docMk/>
            <pc:sldMk cId="1159684995" sldId="288"/>
            <ac:spMk id="11" creationId="{2C148A2D-4713-4B71-B3DF-6938FFDD7920}"/>
          </ac:spMkLst>
        </pc:spChg>
        <pc:spChg chg="add mod topLvl">
          <ac:chgData name="Frederick King" userId="bb732f183fe92d5e" providerId="LiveId" clId="{753283EB-EBC0-413C-B840-BF1DF8182372}" dt="2021-03-30T11:13:58.788" v="8896" actId="14100"/>
          <ac:spMkLst>
            <pc:docMk/>
            <pc:sldMk cId="1159684995" sldId="288"/>
            <ac:spMk id="12" creationId="{6B4E6A59-8262-4253-AB22-7648EA0F5B4D}"/>
          </ac:spMkLst>
        </pc:spChg>
        <pc:spChg chg="del">
          <ac:chgData name="Frederick King" userId="bb732f183fe92d5e" providerId="LiveId" clId="{753283EB-EBC0-413C-B840-BF1DF8182372}" dt="2021-03-30T08:23:33.814" v="3739" actId="478"/>
          <ac:spMkLst>
            <pc:docMk/>
            <pc:sldMk cId="1159684995" sldId="288"/>
            <ac:spMk id="13" creationId="{3D57B746-85AD-4E4B-849B-61D812283D8A}"/>
          </ac:spMkLst>
        </pc:spChg>
        <pc:spChg chg="add del mod topLvl">
          <ac:chgData name="Frederick King" userId="bb732f183fe92d5e" providerId="LiveId" clId="{753283EB-EBC0-413C-B840-BF1DF8182372}" dt="2021-03-29T16:51:57.599" v="1821" actId="478"/>
          <ac:spMkLst>
            <pc:docMk/>
            <pc:sldMk cId="1159684995" sldId="288"/>
            <ac:spMk id="19" creationId="{B763A11F-61CD-445D-98EB-BD359E39F859}"/>
          </ac:spMkLst>
        </pc:spChg>
        <pc:spChg chg="add del mod topLvl">
          <ac:chgData name="Frederick King" userId="bb732f183fe92d5e" providerId="LiveId" clId="{753283EB-EBC0-413C-B840-BF1DF8182372}" dt="2021-04-20T11:44:37.030" v="21281" actId="478"/>
          <ac:spMkLst>
            <pc:docMk/>
            <pc:sldMk cId="1159684995" sldId="288"/>
            <ac:spMk id="20" creationId="{7B2713D6-1FCB-49CA-9569-780799ACAE79}"/>
          </ac:spMkLst>
        </pc:spChg>
        <pc:spChg chg="add del mod topLvl">
          <ac:chgData name="Frederick King" userId="bb732f183fe92d5e" providerId="LiveId" clId="{753283EB-EBC0-413C-B840-BF1DF8182372}" dt="2021-03-29T16:51:56.045" v="1820" actId="478"/>
          <ac:spMkLst>
            <pc:docMk/>
            <pc:sldMk cId="1159684995" sldId="288"/>
            <ac:spMk id="21" creationId="{B47BD679-0A92-4466-B6CF-9EBFE2F16226}"/>
          </ac:spMkLst>
        </pc:spChg>
        <pc:spChg chg="add mod topLvl">
          <ac:chgData name="Frederick King" userId="bb732f183fe92d5e" providerId="LiveId" clId="{753283EB-EBC0-413C-B840-BF1DF8182372}" dt="2021-04-20T09:12:45.490" v="21261" actId="313"/>
          <ac:spMkLst>
            <pc:docMk/>
            <pc:sldMk cId="1159684995" sldId="288"/>
            <ac:spMk id="22" creationId="{6703BB92-6762-4767-8955-ED638C0D0550}"/>
          </ac:spMkLst>
        </pc:spChg>
        <pc:spChg chg="add mod topLvl">
          <ac:chgData name="Frederick King" userId="bb732f183fe92d5e" providerId="LiveId" clId="{753283EB-EBC0-413C-B840-BF1DF8182372}" dt="2021-03-29T17:03:06.852" v="3600" actId="255"/>
          <ac:spMkLst>
            <pc:docMk/>
            <pc:sldMk cId="1159684995" sldId="288"/>
            <ac:spMk id="23" creationId="{D00D13BA-8EE0-4366-B91D-48F1D733F001}"/>
          </ac:spMkLst>
        </pc:spChg>
        <pc:spChg chg="add mod topLvl">
          <ac:chgData name="Frederick King" userId="bb732f183fe92d5e" providerId="LiveId" clId="{753283EB-EBC0-413C-B840-BF1DF8182372}" dt="2021-03-29T17:03:06.852" v="3600" actId="255"/>
          <ac:spMkLst>
            <pc:docMk/>
            <pc:sldMk cId="1159684995" sldId="288"/>
            <ac:spMk id="24" creationId="{20AAF006-BDFE-4E07-84A3-A41A46463147}"/>
          </ac:spMkLst>
        </pc:spChg>
        <pc:spChg chg="add mod topLvl">
          <ac:chgData name="Frederick King" userId="bb732f183fe92d5e" providerId="LiveId" clId="{753283EB-EBC0-413C-B840-BF1DF8182372}" dt="2021-04-20T09:12:47.329" v="21262" actId="313"/>
          <ac:spMkLst>
            <pc:docMk/>
            <pc:sldMk cId="1159684995" sldId="288"/>
            <ac:spMk id="25" creationId="{23EF1F92-17C3-4E32-90B2-5699F41B3F1E}"/>
          </ac:spMkLst>
        </pc:spChg>
        <pc:spChg chg="add mod topLvl">
          <ac:chgData name="Frederick King" userId="bb732f183fe92d5e" providerId="LiveId" clId="{753283EB-EBC0-413C-B840-BF1DF8182372}" dt="2021-04-01T12:13:32.870" v="20957" actId="20577"/>
          <ac:spMkLst>
            <pc:docMk/>
            <pc:sldMk cId="1159684995" sldId="288"/>
            <ac:spMk id="26" creationId="{2CAD8ED4-5BC7-4875-8205-457D5E09F4C8}"/>
          </ac:spMkLst>
        </pc:spChg>
        <pc:spChg chg="add mod topLvl">
          <ac:chgData name="Frederick King" userId="bb732f183fe92d5e" providerId="LiveId" clId="{753283EB-EBC0-413C-B840-BF1DF8182372}" dt="2021-04-21T13:46:47.163" v="21568" actId="6549"/>
          <ac:spMkLst>
            <pc:docMk/>
            <pc:sldMk cId="1159684995" sldId="288"/>
            <ac:spMk id="27" creationId="{0F64A8B2-546A-4B22-B212-B35733BAFDC6}"/>
          </ac:spMkLst>
        </pc:spChg>
        <pc:spChg chg="add mod topLvl">
          <ac:chgData name="Frederick King" userId="bb732f183fe92d5e" providerId="LiveId" clId="{753283EB-EBC0-413C-B840-BF1DF8182372}" dt="2021-03-29T16:54:13.118" v="2045" actId="255"/>
          <ac:spMkLst>
            <pc:docMk/>
            <pc:sldMk cId="1159684995" sldId="288"/>
            <ac:spMk id="28" creationId="{82FB4926-915E-46F8-A58B-C44CE8303F0D}"/>
          </ac:spMkLst>
        </pc:spChg>
        <pc:spChg chg="add mod topLvl">
          <ac:chgData name="Frederick King" userId="bb732f183fe92d5e" providerId="LiveId" clId="{753283EB-EBC0-413C-B840-BF1DF8182372}" dt="2021-03-29T16:55:48.242" v="2110" actId="1037"/>
          <ac:spMkLst>
            <pc:docMk/>
            <pc:sldMk cId="1159684995" sldId="288"/>
            <ac:spMk id="29" creationId="{259A7D61-E646-45E7-A5DE-847367729D3B}"/>
          </ac:spMkLst>
        </pc:spChg>
        <pc:spChg chg="add mod">
          <ac:chgData name="Frederick King" userId="bb732f183fe92d5e" providerId="LiveId" clId="{753283EB-EBC0-413C-B840-BF1DF8182372}" dt="2021-03-30T08:23:34.117" v="3740"/>
          <ac:spMkLst>
            <pc:docMk/>
            <pc:sldMk cId="1159684995" sldId="288"/>
            <ac:spMk id="30" creationId="{3A4EB61A-5588-42DC-9691-97F9337BD692}"/>
          </ac:spMkLst>
        </pc:spChg>
        <pc:spChg chg="add del mod modVis">
          <ac:chgData name="Frederick King" userId="bb732f183fe92d5e" providerId="LiveId" clId="{753283EB-EBC0-413C-B840-BF1DF8182372}" dt="2021-03-29T16:53:06.220" v="1994" actId="962"/>
          <ac:spMkLst>
            <pc:docMk/>
            <pc:sldMk cId="1159684995" sldId="288"/>
            <ac:spMk id="30" creationId="{F878FEF2-D106-4B3D-B79D-65EFE07C5505}"/>
          </ac:spMkLst>
        </pc:spChg>
        <pc:spChg chg="add del mod">
          <ac:chgData name="Frederick King" userId="bb732f183fe92d5e" providerId="LiveId" clId="{753283EB-EBC0-413C-B840-BF1DF8182372}" dt="2021-03-30T14:18:16.032" v="17214" actId="478"/>
          <ac:spMkLst>
            <pc:docMk/>
            <pc:sldMk cId="1159684995" sldId="288"/>
            <ac:spMk id="31" creationId="{211BA48F-311A-49B0-866F-B28847330E4D}"/>
          </ac:spMkLst>
        </pc:spChg>
        <pc:spChg chg="add mod">
          <ac:chgData name="Frederick King" userId="bb732f183fe92d5e" providerId="LiveId" clId="{753283EB-EBC0-413C-B840-BF1DF8182372}" dt="2021-03-30T14:18:16.317" v="17215"/>
          <ac:spMkLst>
            <pc:docMk/>
            <pc:sldMk cId="1159684995" sldId="288"/>
            <ac:spMk id="32" creationId="{8142A767-5FA3-4CA0-9772-B34606F310B9}"/>
          </ac:spMkLst>
        </pc:spChg>
        <pc:spChg chg="add del mod modVis">
          <ac:chgData name="Frederick King" userId="bb732f183fe92d5e" providerId="LiveId" clId="{753283EB-EBC0-413C-B840-BF1DF8182372}" dt="2021-03-29T16:56:51.405" v="2182"/>
          <ac:spMkLst>
            <pc:docMk/>
            <pc:sldMk cId="1159684995" sldId="288"/>
            <ac:spMk id="34" creationId="{93B15618-6B3C-4725-AD07-DBA5122BC669}"/>
          </ac:spMkLst>
        </pc:spChg>
        <pc:spChg chg="add del mod modVis">
          <ac:chgData name="Frederick King" userId="bb732f183fe92d5e" providerId="LiveId" clId="{753283EB-EBC0-413C-B840-BF1DF8182372}" dt="2021-03-29T16:56:52.140" v="2226"/>
          <ac:spMkLst>
            <pc:docMk/>
            <pc:sldMk cId="1159684995" sldId="288"/>
            <ac:spMk id="35" creationId="{7C35099C-E75C-4CE9-8E87-2139E05D7A3F}"/>
          </ac:spMkLst>
        </pc:spChg>
        <pc:spChg chg="add del mod modVis">
          <ac:chgData name="Frederick King" userId="bb732f183fe92d5e" providerId="LiveId" clId="{753283EB-EBC0-413C-B840-BF1DF8182372}" dt="2021-03-29T16:56:52.750" v="2267"/>
          <ac:spMkLst>
            <pc:docMk/>
            <pc:sldMk cId="1159684995" sldId="288"/>
            <ac:spMk id="36" creationId="{FAEFE89F-AAA3-49D5-9ADD-10C8A0E01575}"/>
          </ac:spMkLst>
        </pc:spChg>
        <pc:spChg chg="add del mod modVis">
          <ac:chgData name="Frederick King" userId="bb732f183fe92d5e" providerId="LiveId" clId="{753283EB-EBC0-413C-B840-BF1DF8182372}" dt="2021-03-29T16:56:53.768" v="2308"/>
          <ac:spMkLst>
            <pc:docMk/>
            <pc:sldMk cId="1159684995" sldId="288"/>
            <ac:spMk id="37" creationId="{224CE66B-15C0-4211-895A-CDDC12487262}"/>
          </ac:spMkLst>
        </pc:spChg>
        <pc:spChg chg="add del mod modVis">
          <ac:chgData name="Frederick King" userId="bb732f183fe92d5e" providerId="LiveId" clId="{753283EB-EBC0-413C-B840-BF1DF8182372}" dt="2021-03-29T16:56:57.601" v="2369"/>
          <ac:spMkLst>
            <pc:docMk/>
            <pc:sldMk cId="1159684995" sldId="288"/>
            <ac:spMk id="38" creationId="{989DE1A6-7916-4E60-85E7-81BF9EB18E36}"/>
          </ac:spMkLst>
        </pc:spChg>
        <pc:spChg chg="add del mod modVis">
          <ac:chgData name="Frederick King" userId="bb732f183fe92d5e" providerId="LiveId" clId="{753283EB-EBC0-413C-B840-BF1DF8182372}" dt="2021-03-29T16:56:59.207" v="2412"/>
          <ac:spMkLst>
            <pc:docMk/>
            <pc:sldMk cId="1159684995" sldId="288"/>
            <ac:spMk id="39" creationId="{6F775CFF-FF61-4425-8555-9818E5D062DE}"/>
          </ac:spMkLst>
        </pc:spChg>
        <pc:spChg chg="add del mod modVis">
          <ac:chgData name="Frederick King" userId="bb732f183fe92d5e" providerId="LiveId" clId="{753283EB-EBC0-413C-B840-BF1DF8182372}" dt="2021-03-29T16:57:00.106" v="2455"/>
          <ac:spMkLst>
            <pc:docMk/>
            <pc:sldMk cId="1159684995" sldId="288"/>
            <ac:spMk id="40" creationId="{96176499-0AE1-4867-B3F1-BAFF8CF4DE07}"/>
          </ac:spMkLst>
        </pc:spChg>
        <pc:spChg chg="add del mod modVis">
          <ac:chgData name="Frederick King" userId="bb732f183fe92d5e" providerId="LiveId" clId="{753283EB-EBC0-413C-B840-BF1DF8182372}" dt="2021-03-29T16:58:46.965" v="2518"/>
          <ac:spMkLst>
            <pc:docMk/>
            <pc:sldMk cId="1159684995" sldId="288"/>
            <ac:spMk id="41" creationId="{0FC51DB7-B406-431F-84FA-117C8A006991}"/>
          </ac:spMkLst>
        </pc:spChg>
        <pc:spChg chg="add del mod modVis">
          <ac:chgData name="Frederick King" userId="bb732f183fe92d5e" providerId="LiveId" clId="{753283EB-EBC0-413C-B840-BF1DF8182372}" dt="2021-03-29T16:58:47.573" v="2559"/>
          <ac:spMkLst>
            <pc:docMk/>
            <pc:sldMk cId="1159684995" sldId="288"/>
            <ac:spMk id="42" creationId="{9C47089F-41F2-4271-8659-4688BCBE0C6A}"/>
          </ac:spMkLst>
        </pc:spChg>
        <pc:spChg chg="add del mod modVis">
          <ac:chgData name="Frederick King" userId="bb732f183fe92d5e" providerId="LiveId" clId="{753283EB-EBC0-413C-B840-BF1DF8182372}" dt="2021-03-29T16:58:50.397" v="2613"/>
          <ac:spMkLst>
            <pc:docMk/>
            <pc:sldMk cId="1159684995" sldId="288"/>
            <ac:spMk id="43" creationId="{5E64DAC3-DD08-4E42-92C0-6780BB2F387D}"/>
          </ac:spMkLst>
        </pc:spChg>
        <pc:spChg chg="add del mod modVis">
          <ac:chgData name="Frederick King" userId="bb732f183fe92d5e" providerId="LiveId" clId="{753283EB-EBC0-413C-B840-BF1DF8182372}" dt="2021-03-29T16:58:51.622" v="2655"/>
          <ac:spMkLst>
            <pc:docMk/>
            <pc:sldMk cId="1159684995" sldId="288"/>
            <ac:spMk id="44" creationId="{F0EF8126-7938-4F9D-914E-A8AD1844B7EC}"/>
          </ac:spMkLst>
        </pc:spChg>
        <pc:spChg chg="add del mod modVis">
          <ac:chgData name="Frederick King" userId="bb732f183fe92d5e" providerId="LiveId" clId="{753283EB-EBC0-413C-B840-BF1DF8182372}" dt="2021-03-29T16:58:58.733" v="2700"/>
          <ac:spMkLst>
            <pc:docMk/>
            <pc:sldMk cId="1159684995" sldId="288"/>
            <ac:spMk id="45" creationId="{3650B221-7212-4626-91D7-FB86FA97E3FE}"/>
          </ac:spMkLst>
        </pc:spChg>
        <pc:spChg chg="add del mod modVis">
          <ac:chgData name="Frederick King" userId="bb732f183fe92d5e" providerId="LiveId" clId="{753283EB-EBC0-413C-B840-BF1DF8182372}" dt="2021-03-29T16:59:05.060" v="2741"/>
          <ac:spMkLst>
            <pc:docMk/>
            <pc:sldMk cId="1159684995" sldId="288"/>
            <ac:spMk id="46" creationId="{8CADFF24-F4FE-4211-A5E0-0C3EB5F47DE1}"/>
          </ac:spMkLst>
        </pc:spChg>
        <pc:spChg chg="add del mod modVis">
          <ac:chgData name="Frederick King" userId="bb732f183fe92d5e" providerId="LiveId" clId="{753283EB-EBC0-413C-B840-BF1DF8182372}" dt="2021-03-29T16:59:06.075" v="2782"/>
          <ac:spMkLst>
            <pc:docMk/>
            <pc:sldMk cId="1159684995" sldId="288"/>
            <ac:spMk id="47" creationId="{1E74EED8-0E17-45B7-ACE7-F90DC051664F}"/>
          </ac:spMkLst>
        </pc:spChg>
        <pc:spChg chg="add del mod modVis">
          <ac:chgData name="Frederick King" userId="bb732f183fe92d5e" providerId="LiveId" clId="{753283EB-EBC0-413C-B840-BF1DF8182372}" dt="2021-03-29T16:59:10.393" v="2850"/>
          <ac:spMkLst>
            <pc:docMk/>
            <pc:sldMk cId="1159684995" sldId="288"/>
            <ac:spMk id="48" creationId="{48969B5F-8542-4C68-BA27-A6CE6059DE97}"/>
          </ac:spMkLst>
        </pc:spChg>
        <pc:spChg chg="add del mod modVis">
          <ac:chgData name="Frederick King" userId="bb732f183fe92d5e" providerId="LiveId" clId="{753283EB-EBC0-413C-B840-BF1DF8182372}" dt="2021-03-29T16:59:11.056" v="2891"/>
          <ac:spMkLst>
            <pc:docMk/>
            <pc:sldMk cId="1159684995" sldId="288"/>
            <ac:spMk id="49" creationId="{0AC26928-45B9-4C4E-997A-281F1F1CEFF7}"/>
          </ac:spMkLst>
        </pc:spChg>
        <pc:spChg chg="add del mod modVis">
          <ac:chgData name="Frederick King" userId="bb732f183fe92d5e" providerId="LiveId" clId="{753283EB-EBC0-413C-B840-BF1DF8182372}" dt="2021-03-29T16:59:11.860" v="2932"/>
          <ac:spMkLst>
            <pc:docMk/>
            <pc:sldMk cId="1159684995" sldId="288"/>
            <ac:spMk id="50" creationId="{A93EE593-A6E9-4FB5-91D4-8E31F14D37B5}"/>
          </ac:spMkLst>
        </pc:spChg>
        <pc:spChg chg="add del mod modVis">
          <ac:chgData name="Frederick King" userId="bb732f183fe92d5e" providerId="LiveId" clId="{753283EB-EBC0-413C-B840-BF1DF8182372}" dt="2021-03-29T16:59:12.760" v="2973"/>
          <ac:spMkLst>
            <pc:docMk/>
            <pc:sldMk cId="1159684995" sldId="288"/>
            <ac:spMk id="51" creationId="{80A6430B-DDF2-480B-863B-6907E886D761}"/>
          </ac:spMkLst>
        </pc:spChg>
        <pc:spChg chg="add del mod modVis">
          <ac:chgData name="Frederick King" userId="bb732f183fe92d5e" providerId="LiveId" clId="{753283EB-EBC0-413C-B840-BF1DF8182372}" dt="2021-03-29T16:59:14.484" v="3017"/>
          <ac:spMkLst>
            <pc:docMk/>
            <pc:sldMk cId="1159684995" sldId="288"/>
            <ac:spMk id="52" creationId="{59735DDE-1BE7-40DB-B524-55C0AAEEE7B7}"/>
          </ac:spMkLst>
        </pc:spChg>
        <pc:spChg chg="add del mod modVis">
          <ac:chgData name="Frederick King" userId="bb732f183fe92d5e" providerId="LiveId" clId="{753283EB-EBC0-413C-B840-BF1DF8182372}" dt="2021-03-29T16:59:15.037" v="3058"/>
          <ac:spMkLst>
            <pc:docMk/>
            <pc:sldMk cId="1159684995" sldId="288"/>
            <ac:spMk id="53" creationId="{8E2AD287-63C0-41D3-905D-EE8DF0606305}"/>
          </ac:spMkLst>
        </pc:spChg>
        <pc:spChg chg="add del mod modVis">
          <ac:chgData name="Frederick King" userId="bb732f183fe92d5e" providerId="LiveId" clId="{753283EB-EBC0-413C-B840-BF1DF8182372}" dt="2021-03-29T16:59:16.688" v="3102"/>
          <ac:spMkLst>
            <pc:docMk/>
            <pc:sldMk cId="1159684995" sldId="288"/>
            <ac:spMk id="54" creationId="{DB94911F-984E-44BC-BDE4-353D49D293DF}"/>
          </ac:spMkLst>
        </pc:spChg>
        <pc:spChg chg="add del mod modVis">
          <ac:chgData name="Frederick King" userId="bb732f183fe92d5e" providerId="LiveId" clId="{753283EB-EBC0-413C-B840-BF1DF8182372}" dt="2021-03-29T16:59:20.017" v="3155"/>
          <ac:spMkLst>
            <pc:docMk/>
            <pc:sldMk cId="1159684995" sldId="288"/>
            <ac:spMk id="55" creationId="{35F65414-4212-4CBD-892D-BED43A1C1E9A}"/>
          </ac:spMkLst>
        </pc:spChg>
        <pc:spChg chg="add del mod modVis">
          <ac:chgData name="Frederick King" userId="bb732f183fe92d5e" providerId="LiveId" clId="{753283EB-EBC0-413C-B840-BF1DF8182372}" dt="2021-03-29T16:59:21.947" v="3206"/>
          <ac:spMkLst>
            <pc:docMk/>
            <pc:sldMk cId="1159684995" sldId="288"/>
            <ac:spMk id="56" creationId="{7756B6DB-443E-4B06-A12D-CCF9E8792B9B}"/>
          </ac:spMkLst>
        </pc:spChg>
        <pc:spChg chg="add del mod modVis">
          <ac:chgData name="Frederick King" userId="bb732f183fe92d5e" providerId="LiveId" clId="{753283EB-EBC0-413C-B840-BF1DF8182372}" dt="2021-03-29T17:00:09.147" v="3296"/>
          <ac:spMkLst>
            <pc:docMk/>
            <pc:sldMk cId="1159684995" sldId="288"/>
            <ac:spMk id="57" creationId="{8CFEB0B7-24C2-44E7-A8BC-1A94119E952E}"/>
          </ac:spMkLst>
        </pc:spChg>
        <pc:spChg chg="add del mod modVis">
          <ac:chgData name="Frederick King" userId="bb732f183fe92d5e" providerId="LiveId" clId="{753283EB-EBC0-413C-B840-BF1DF8182372}" dt="2021-03-29T17:00:18.493" v="3354"/>
          <ac:spMkLst>
            <pc:docMk/>
            <pc:sldMk cId="1159684995" sldId="288"/>
            <ac:spMk id="58" creationId="{A8DC88F7-FF87-4D4A-B0D7-C2C49B96B24E}"/>
          </ac:spMkLst>
        </pc:spChg>
        <pc:spChg chg="add del mod modVis">
          <ac:chgData name="Frederick King" userId="bb732f183fe92d5e" providerId="LiveId" clId="{753283EB-EBC0-413C-B840-BF1DF8182372}" dt="2021-03-29T17:00:21.171" v="3405"/>
          <ac:spMkLst>
            <pc:docMk/>
            <pc:sldMk cId="1159684995" sldId="288"/>
            <ac:spMk id="59" creationId="{0EE95527-315B-4D08-8FEB-C05661C65E33}"/>
          </ac:spMkLst>
        </pc:spChg>
        <pc:spChg chg="add del mod modVis">
          <ac:chgData name="Frederick King" userId="bb732f183fe92d5e" providerId="LiveId" clId="{753283EB-EBC0-413C-B840-BF1DF8182372}" dt="2021-03-29T17:00:22.891" v="3447"/>
          <ac:spMkLst>
            <pc:docMk/>
            <pc:sldMk cId="1159684995" sldId="288"/>
            <ac:spMk id="60" creationId="{AE7B2389-DF26-4813-98D2-1D15C5B48D56}"/>
          </ac:spMkLst>
        </pc:spChg>
        <pc:spChg chg="add del mod modVis">
          <ac:chgData name="Frederick King" userId="bb732f183fe92d5e" providerId="LiveId" clId="{753283EB-EBC0-413C-B840-BF1DF8182372}" dt="2021-03-29T17:00:27.728" v="3488"/>
          <ac:spMkLst>
            <pc:docMk/>
            <pc:sldMk cId="1159684995" sldId="288"/>
            <ac:spMk id="61" creationId="{3D433EFA-7355-428B-A7B7-5E3DC870E466}"/>
          </ac:spMkLst>
        </pc:spChg>
        <pc:spChg chg="add del mod modVis">
          <ac:chgData name="Frederick King" userId="bb732f183fe92d5e" providerId="LiveId" clId="{753283EB-EBC0-413C-B840-BF1DF8182372}" dt="2021-03-29T17:01:34.603" v="3541"/>
          <ac:spMkLst>
            <pc:docMk/>
            <pc:sldMk cId="1159684995" sldId="288"/>
            <ac:spMk id="62" creationId="{0A0B1DC8-7D72-47B6-9E3A-F5896E70C238}"/>
          </ac:spMkLst>
        </pc:spChg>
        <pc:spChg chg="add del mod modVis">
          <ac:chgData name="Frederick King" userId="bb732f183fe92d5e" providerId="LiveId" clId="{753283EB-EBC0-413C-B840-BF1DF8182372}" dt="2021-03-29T17:01:37.653" v="3582"/>
          <ac:spMkLst>
            <pc:docMk/>
            <pc:sldMk cId="1159684995" sldId="288"/>
            <ac:spMk id="63" creationId="{7660CA47-EAB1-47A4-8332-B79045BE9CB6}"/>
          </ac:spMkLst>
        </pc:spChg>
        <pc:spChg chg="add del mod">
          <ac:chgData name="Frederick King" userId="bb732f183fe92d5e" providerId="LiveId" clId="{753283EB-EBC0-413C-B840-BF1DF8182372}" dt="2021-04-01T11:08:25.636" v="19595" actId="478"/>
          <ac:spMkLst>
            <pc:docMk/>
            <pc:sldMk cId="1159684995" sldId="288"/>
            <ac:spMk id="65" creationId="{8B35080E-2908-4180-9223-9A1E2C4EC486}"/>
          </ac:spMkLst>
        </pc:spChg>
        <pc:grpChg chg="add del mod">
          <ac:chgData name="Frederick King" userId="bb732f183fe92d5e" providerId="LiveId" clId="{753283EB-EBC0-413C-B840-BF1DF8182372}" dt="2021-03-29T16:51:49.162" v="1818" actId="165"/>
          <ac:grpSpMkLst>
            <pc:docMk/>
            <pc:sldMk cId="1159684995" sldId="288"/>
            <ac:grpSpMk id="3" creationId="{7EC5D56C-2790-4177-80E9-C7849ADB1BD6}"/>
          </ac:grpSpMkLst>
        </pc:grpChg>
        <pc:grpChg chg="add del mod">
          <ac:chgData name="Frederick King" userId="bb732f183fe92d5e" providerId="LiveId" clId="{753283EB-EBC0-413C-B840-BF1DF8182372}" dt="2021-03-29T16:53:31.749" v="2023" actId="165"/>
          <ac:grpSpMkLst>
            <pc:docMk/>
            <pc:sldMk cId="1159684995" sldId="288"/>
            <ac:grpSpMk id="5" creationId="{3AA6E69A-FCA3-467A-9338-F917EE062DFC}"/>
          </ac:grpSpMkLst>
        </pc:grpChg>
        <pc:graphicFrameChg chg="mod">
          <ac:chgData name="Frederick King" userId="bb732f183fe92d5e" providerId="LiveId" clId="{753283EB-EBC0-413C-B840-BF1DF8182372}" dt="2021-03-29T17:01:37.655" v="3584"/>
          <ac:graphicFrameMkLst>
            <pc:docMk/>
            <pc:sldMk cId="1159684995" sldId="288"/>
            <ac:graphicFrameMk id="7" creationId="{7062420D-45C1-4BB4-80E2-85AA2168BDB7}"/>
          </ac:graphicFrameMkLst>
        </pc:graphicFrameChg>
        <pc:graphicFrameChg chg="del">
          <ac:chgData name="Frederick King" userId="bb732f183fe92d5e" providerId="LiveId" clId="{753283EB-EBC0-413C-B840-BF1DF8182372}" dt="2021-03-29T16:50:06.890" v="1812" actId="478"/>
          <ac:graphicFrameMkLst>
            <pc:docMk/>
            <pc:sldMk cId="1159684995" sldId="288"/>
            <ac:graphicFrameMk id="9" creationId="{3F0CBEE6-308C-48B4-AD3F-0546A56450BC}"/>
          </ac:graphicFrameMkLst>
        </pc:graphicFrameChg>
        <pc:cxnChg chg="add mod topLvl">
          <ac:chgData name="Frederick King" userId="bb732f183fe92d5e" providerId="LiveId" clId="{753283EB-EBC0-413C-B840-BF1DF8182372}" dt="2021-04-20T11:48:41.519" v="21344" actId="693"/>
          <ac:cxnSpMkLst>
            <pc:docMk/>
            <pc:sldMk cId="1159684995" sldId="288"/>
            <ac:cxnSpMk id="14" creationId="{B48B5023-1C8F-4E6A-A4A1-3EAC5544CD20}"/>
          </ac:cxnSpMkLst>
        </pc:cxnChg>
        <pc:cxnChg chg="add mod topLvl">
          <ac:chgData name="Frederick King" userId="bb732f183fe92d5e" providerId="LiveId" clId="{753283EB-EBC0-413C-B840-BF1DF8182372}" dt="2021-03-29T16:55:48.242" v="2110" actId="1037"/>
          <ac:cxnSpMkLst>
            <pc:docMk/>
            <pc:sldMk cId="1159684995" sldId="288"/>
            <ac:cxnSpMk id="15" creationId="{ACF49084-10BE-47BE-BA81-14A68F71692A}"/>
          </ac:cxnSpMkLst>
        </pc:cxnChg>
        <pc:cxnChg chg="add mod topLvl">
          <ac:chgData name="Frederick King" userId="bb732f183fe92d5e" providerId="LiveId" clId="{753283EB-EBC0-413C-B840-BF1DF8182372}" dt="2021-04-20T11:48:41.519" v="21344" actId="693"/>
          <ac:cxnSpMkLst>
            <pc:docMk/>
            <pc:sldMk cId="1159684995" sldId="288"/>
            <ac:cxnSpMk id="16" creationId="{BE3FE625-EC7A-4899-A67A-B9869B84044A}"/>
          </ac:cxnSpMkLst>
        </pc:cxnChg>
        <pc:cxnChg chg="add mod topLvl">
          <ac:chgData name="Frederick King" userId="bb732f183fe92d5e" providerId="LiveId" clId="{753283EB-EBC0-413C-B840-BF1DF8182372}" dt="2021-04-20T11:48:41.519" v="21344" actId="693"/>
          <ac:cxnSpMkLst>
            <pc:docMk/>
            <pc:sldMk cId="1159684995" sldId="288"/>
            <ac:cxnSpMk id="17" creationId="{1EC4B2B9-7936-427B-86D5-5D9F7DBBFA22}"/>
          </ac:cxnSpMkLst>
        </pc:cxnChg>
        <pc:cxnChg chg="add mod topLvl">
          <ac:chgData name="Frederick King" userId="bb732f183fe92d5e" providerId="LiveId" clId="{753283EB-EBC0-413C-B840-BF1DF8182372}" dt="2021-04-20T11:48:41.519" v="21344" actId="693"/>
          <ac:cxnSpMkLst>
            <pc:docMk/>
            <pc:sldMk cId="1159684995" sldId="288"/>
            <ac:cxnSpMk id="18" creationId="{71B3A066-77B8-40F9-B6AD-9EB21E4DEA9E}"/>
          </ac:cxnSpMkLst>
        </pc:cxnChg>
        <pc:cxnChg chg="add mod">
          <ac:chgData name="Frederick King" userId="bb732f183fe92d5e" providerId="LiveId" clId="{753283EB-EBC0-413C-B840-BF1DF8182372}" dt="2021-03-29T16:53:41.421" v="2025" actId="552"/>
          <ac:cxnSpMkLst>
            <pc:docMk/>
            <pc:sldMk cId="1159684995" sldId="288"/>
            <ac:cxnSpMk id="33" creationId="{9ADD31FF-97D5-46B9-97C6-D81C6195AF0E}"/>
          </ac:cxnSpMkLst>
        </pc:cxnChg>
        <pc:cxnChg chg="add del mod">
          <ac:chgData name="Frederick King" userId="bb732f183fe92d5e" providerId="LiveId" clId="{753283EB-EBC0-413C-B840-BF1DF8182372}" dt="2021-03-29T17:54:55.198" v="3608"/>
          <ac:cxnSpMkLst>
            <pc:docMk/>
            <pc:sldMk cId="1159684995" sldId="288"/>
            <ac:cxnSpMk id="64" creationId="{C682A270-2525-4115-BFC6-04BB7483633E}"/>
          </ac:cxnSpMkLst>
        </pc:cxnChg>
      </pc:sldChg>
      <pc:sldChg chg="add del">
        <pc:chgData name="Frederick King" userId="bb732f183fe92d5e" providerId="LiveId" clId="{753283EB-EBC0-413C-B840-BF1DF8182372}" dt="2021-03-30T10:03:07.475" v="3903" actId="47"/>
        <pc:sldMkLst>
          <pc:docMk/>
          <pc:sldMk cId="170450841" sldId="289"/>
        </pc:sldMkLst>
      </pc:sldChg>
      <pc:sldChg chg="addSp delSp modSp add mod">
        <pc:chgData name="Frederick King" userId="bb732f183fe92d5e" providerId="LiveId" clId="{753283EB-EBC0-413C-B840-BF1DF8182372}" dt="2021-04-20T11:54:30.745" v="21366" actId="12"/>
        <pc:sldMkLst>
          <pc:docMk/>
          <pc:sldMk cId="1227675704" sldId="289"/>
        </pc:sldMkLst>
        <pc:spChg chg="mod ord">
          <ac:chgData name="Frederick King" userId="bb732f183fe92d5e" providerId="LiveId" clId="{753283EB-EBC0-413C-B840-BF1DF8182372}" dt="2021-04-20T09:14:45.599" v="21272" actId="20577"/>
          <ac:spMkLst>
            <pc:docMk/>
            <pc:sldMk cId="1227675704" sldId="289"/>
            <ac:spMk id="2" creationId="{4EDD9BB2-6456-4A59-B05A-928CE78EF279}"/>
          </ac:spMkLst>
        </pc:spChg>
        <pc:spChg chg="add del mod modVis">
          <ac:chgData name="Frederick King" userId="bb732f183fe92d5e" providerId="LiveId" clId="{753283EB-EBC0-413C-B840-BF1DF8182372}" dt="2021-03-30T13:01:46.131" v="9492"/>
          <ac:spMkLst>
            <pc:docMk/>
            <pc:sldMk cId="1227675704" sldId="289"/>
            <ac:spMk id="3" creationId="{7FE8E523-911F-47FA-985E-7ABB82E9129B}"/>
          </ac:spMkLst>
        </pc:spChg>
        <pc:spChg chg="del">
          <ac:chgData name="Frederick King" userId="bb732f183fe92d5e" providerId="LiveId" clId="{753283EB-EBC0-413C-B840-BF1DF8182372}" dt="2021-03-30T13:01:27.055" v="9399" actId="478"/>
          <ac:spMkLst>
            <pc:docMk/>
            <pc:sldMk cId="1227675704" sldId="289"/>
            <ac:spMk id="5" creationId="{BC6175E2-2F91-49C6-B372-A27AA4E27DFA}"/>
          </ac:spMkLst>
        </pc:spChg>
        <pc:spChg chg="del">
          <ac:chgData name="Frederick King" userId="bb732f183fe92d5e" providerId="LiveId" clId="{753283EB-EBC0-413C-B840-BF1DF8182372}" dt="2021-03-30T13:01:27.055" v="9399" actId="478"/>
          <ac:spMkLst>
            <pc:docMk/>
            <pc:sldMk cId="1227675704" sldId="289"/>
            <ac:spMk id="6" creationId="{BCD77FC3-1A09-459D-B2AD-890CEE6E3349}"/>
          </ac:spMkLst>
        </pc:spChg>
        <pc:spChg chg="del">
          <ac:chgData name="Frederick King" userId="bb732f183fe92d5e" providerId="LiveId" clId="{753283EB-EBC0-413C-B840-BF1DF8182372}" dt="2021-03-30T13:01:27.055" v="9399" actId="478"/>
          <ac:spMkLst>
            <pc:docMk/>
            <pc:sldMk cId="1227675704" sldId="289"/>
            <ac:spMk id="7" creationId="{0795C69C-FE4A-463E-AE4E-37AE1DC01759}"/>
          </ac:spMkLst>
        </pc:spChg>
        <pc:spChg chg="del">
          <ac:chgData name="Frederick King" userId="bb732f183fe92d5e" providerId="LiveId" clId="{753283EB-EBC0-413C-B840-BF1DF8182372}" dt="2021-03-30T13:01:27.055" v="9399" actId="478"/>
          <ac:spMkLst>
            <pc:docMk/>
            <pc:sldMk cId="1227675704" sldId="289"/>
            <ac:spMk id="8" creationId="{2A0818E3-F29A-4B88-A536-EFBDC5BA460B}"/>
          </ac:spMkLst>
        </pc:spChg>
        <pc:spChg chg="del">
          <ac:chgData name="Frederick King" userId="bb732f183fe92d5e" providerId="LiveId" clId="{753283EB-EBC0-413C-B840-BF1DF8182372}" dt="2021-03-30T13:01:27.055" v="9399" actId="478"/>
          <ac:spMkLst>
            <pc:docMk/>
            <pc:sldMk cId="1227675704" sldId="289"/>
            <ac:spMk id="9" creationId="{FBFF7BBD-E5E2-4A63-A6B1-AB6CCB651167}"/>
          </ac:spMkLst>
        </pc:spChg>
        <pc:spChg chg="del">
          <ac:chgData name="Frederick King" userId="bb732f183fe92d5e" providerId="LiveId" clId="{753283EB-EBC0-413C-B840-BF1DF8182372}" dt="2021-03-30T13:01:27.055" v="9399" actId="478"/>
          <ac:spMkLst>
            <pc:docMk/>
            <pc:sldMk cId="1227675704" sldId="289"/>
            <ac:spMk id="10" creationId="{E97E98F6-3CDD-451B-9DB7-42BD1DEB5865}"/>
          </ac:spMkLst>
        </pc:spChg>
        <pc:spChg chg="del">
          <ac:chgData name="Frederick King" userId="bb732f183fe92d5e" providerId="LiveId" clId="{753283EB-EBC0-413C-B840-BF1DF8182372}" dt="2021-03-30T13:01:27.055" v="9399" actId="478"/>
          <ac:spMkLst>
            <pc:docMk/>
            <pc:sldMk cId="1227675704" sldId="289"/>
            <ac:spMk id="11" creationId="{96E24C05-E909-4715-914C-01F5F72ABC12}"/>
          </ac:spMkLst>
        </pc:spChg>
        <pc:spChg chg="del">
          <ac:chgData name="Frederick King" userId="bb732f183fe92d5e" providerId="LiveId" clId="{753283EB-EBC0-413C-B840-BF1DF8182372}" dt="2021-03-30T13:01:27.055" v="9399" actId="478"/>
          <ac:spMkLst>
            <pc:docMk/>
            <pc:sldMk cId="1227675704" sldId="289"/>
            <ac:spMk id="12" creationId="{E70EC451-61E3-4E2F-BB9A-F60FC1A4110E}"/>
          </ac:spMkLst>
        </pc:spChg>
        <pc:spChg chg="add del mod">
          <ac:chgData name="Frederick King" userId="bb732f183fe92d5e" providerId="LiveId" clId="{753283EB-EBC0-413C-B840-BF1DF8182372}" dt="2021-03-30T13:01:34.844" v="9403" actId="478"/>
          <ac:spMkLst>
            <pc:docMk/>
            <pc:sldMk cId="1227675704" sldId="289"/>
            <ac:spMk id="13" creationId="{D2030545-F5A7-4075-84FC-52988A3DF5CF}"/>
          </ac:spMkLst>
        </pc:spChg>
        <pc:spChg chg="del">
          <ac:chgData name="Frederick King" userId="bb732f183fe92d5e" providerId="LiveId" clId="{753283EB-EBC0-413C-B840-BF1DF8182372}" dt="2021-03-30T13:01:27.055" v="9399" actId="478"/>
          <ac:spMkLst>
            <pc:docMk/>
            <pc:sldMk cId="1227675704" sldId="289"/>
            <ac:spMk id="14" creationId="{8F16061B-63DF-4B48-A23A-161FD4A3BDD6}"/>
          </ac:spMkLst>
        </pc:spChg>
        <pc:spChg chg="add del mod">
          <ac:chgData name="Frederick King" userId="bb732f183fe92d5e" providerId="LiveId" clId="{753283EB-EBC0-413C-B840-BF1DF8182372}" dt="2021-03-30T13:01:34.844" v="9403" actId="478"/>
          <ac:spMkLst>
            <pc:docMk/>
            <pc:sldMk cId="1227675704" sldId="289"/>
            <ac:spMk id="15" creationId="{A97D3CFC-E436-49BE-AFCF-8EA0AB34A505}"/>
          </ac:spMkLst>
        </pc:spChg>
        <pc:spChg chg="add del mod modVis">
          <ac:chgData name="Frederick King" userId="bb732f183fe92d5e" providerId="LiveId" clId="{753283EB-EBC0-413C-B840-BF1DF8182372}" dt="2021-03-30T13:01:49.759" v="9553"/>
          <ac:spMkLst>
            <pc:docMk/>
            <pc:sldMk cId="1227675704" sldId="289"/>
            <ac:spMk id="16" creationId="{46C23A96-449E-4314-9BA2-A4F0B2949994}"/>
          </ac:spMkLst>
        </pc:spChg>
        <pc:spChg chg="add del mod modVis">
          <ac:chgData name="Frederick King" userId="bb732f183fe92d5e" providerId="LiveId" clId="{753283EB-EBC0-413C-B840-BF1DF8182372}" dt="2021-03-30T13:01:52.836" v="9602"/>
          <ac:spMkLst>
            <pc:docMk/>
            <pc:sldMk cId="1227675704" sldId="289"/>
            <ac:spMk id="17" creationId="{1D8CE7DA-5586-458A-A984-502419026853}"/>
          </ac:spMkLst>
        </pc:spChg>
        <pc:spChg chg="mod ord">
          <ac:chgData name="Frederick King" userId="bb732f183fe92d5e" providerId="LiveId" clId="{753283EB-EBC0-413C-B840-BF1DF8182372}" dt="2021-03-30T14:17:11.377" v="17188" actId="2711"/>
          <ac:spMkLst>
            <pc:docMk/>
            <pc:sldMk cId="1227675704" sldId="289"/>
            <ac:spMk id="18" creationId="{EF8F0026-93D9-41DE-84DE-F5C2A2F8B9E2}"/>
          </ac:spMkLst>
        </pc:spChg>
        <pc:spChg chg="mod ord">
          <ac:chgData name="Frederick King" userId="bb732f183fe92d5e" providerId="LiveId" clId="{753283EB-EBC0-413C-B840-BF1DF8182372}" dt="2021-03-30T13:18:43.670" v="16453"/>
          <ac:spMkLst>
            <pc:docMk/>
            <pc:sldMk cId="1227675704" sldId="289"/>
            <ac:spMk id="19" creationId="{9AD10914-3570-4ED9-B62D-585F98FDA3CD}"/>
          </ac:spMkLst>
        </pc:spChg>
        <pc:spChg chg="add del mod modVis">
          <ac:chgData name="Frederick King" userId="bb732f183fe92d5e" providerId="LiveId" clId="{753283EB-EBC0-413C-B840-BF1DF8182372}" dt="2021-03-30T13:01:54.425" v="9648"/>
          <ac:spMkLst>
            <pc:docMk/>
            <pc:sldMk cId="1227675704" sldId="289"/>
            <ac:spMk id="20" creationId="{F7199CE9-1F7A-4057-B13A-40025C5C10E8}"/>
          </ac:spMkLst>
        </pc:spChg>
        <pc:spChg chg="add del mod modVis">
          <ac:chgData name="Frederick King" userId="bb732f183fe92d5e" providerId="LiveId" clId="{753283EB-EBC0-413C-B840-BF1DF8182372}" dt="2021-03-30T13:01:56.482" v="9698"/>
          <ac:spMkLst>
            <pc:docMk/>
            <pc:sldMk cId="1227675704" sldId="289"/>
            <ac:spMk id="21" creationId="{A4C5915C-9DFC-4FD1-BD2F-9267CAA4AD53}"/>
          </ac:spMkLst>
        </pc:spChg>
        <pc:spChg chg="add del mod">
          <ac:chgData name="Frederick King" userId="bb732f183fe92d5e" providerId="LiveId" clId="{753283EB-EBC0-413C-B840-BF1DF8182372}" dt="2021-03-30T13:11:18.564" v="16166" actId="478"/>
          <ac:spMkLst>
            <pc:docMk/>
            <pc:sldMk cId="1227675704" sldId="289"/>
            <ac:spMk id="23" creationId="{E2E5893C-49E0-48C5-80B4-6CB8B6975FEF}"/>
          </ac:spMkLst>
        </pc:spChg>
        <pc:spChg chg="add del mod">
          <ac:chgData name="Frederick King" userId="bb732f183fe92d5e" providerId="LiveId" clId="{753283EB-EBC0-413C-B840-BF1DF8182372}" dt="2021-03-30T13:11:18.564" v="16166" actId="478"/>
          <ac:spMkLst>
            <pc:docMk/>
            <pc:sldMk cId="1227675704" sldId="289"/>
            <ac:spMk id="25" creationId="{BF0993F0-698B-4946-B4FB-7A60DD455292}"/>
          </ac:spMkLst>
        </pc:spChg>
        <pc:spChg chg="add del mod">
          <ac:chgData name="Frederick King" userId="bb732f183fe92d5e" providerId="LiveId" clId="{753283EB-EBC0-413C-B840-BF1DF8182372}" dt="2021-03-30T13:11:18.564" v="16166" actId="478"/>
          <ac:spMkLst>
            <pc:docMk/>
            <pc:sldMk cId="1227675704" sldId="289"/>
            <ac:spMk id="26" creationId="{D78F19E4-803B-43EB-9D50-F3417D8AAC2C}"/>
          </ac:spMkLst>
        </pc:spChg>
        <pc:spChg chg="add del mod">
          <ac:chgData name="Frederick King" userId="bb732f183fe92d5e" providerId="LiveId" clId="{753283EB-EBC0-413C-B840-BF1DF8182372}" dt="2021-03-30T13:11:18.564" v="16166" actId="478"/>
          <ac:spMkLst>
            <pc:docMk/>
            <pc:sldMk cId="1227675704" sldId="289"/>
            <ac:spMk id="27" creationId="{F4A1E683-211F-40E6-B5FA-DFB48CDE6428}"/>
          </ac:spMkLst>
        </pc:spChg>
        <pc:spChg chg="add del mod">
          <ac:chgData name="Frederick King" userId="bb732f183fe92d5e" providerId="LiveId" clId="{753283EB-EBC0-413C-B840-BF1DF8182372}" dt="2021-03-30T13:11:18.564" v="16166" actId="478"/>
          <ac:spMkLst>
            <pc:docMk/>
            <pc:sldMk cId="1227675704" sldId="289"/>
            <ac:spMk id="28" creationId="{CF95A8C8-5885-49DA-BDB6-65892E4E3204}"/>
          </ac:spMkLst>
        </pc:spChg>
        <pc:spChg chg="add del mod">
          <ac:chgData name="Frederick King" userId="bb732f183fe92d5e" providerId="LiveId" clId="{753283EB-EBC0-413C-B840-BF1DF8182372}" dt="2021-03-30T13:11:18.564" v="16166" actId="478"/>
          <ac:spMkLst>
            <pc:docMk/>
            <pc:sldMk cId="1227675704" sldId="289"/>
            <ac:spMk id="30" creationId="{B3F2A465-9AAB-4933-A881-C232DDCAEAE5}"/>
          </ac:spMkLst>
        </pc:spChg>
        <pc:spChg chg="add del mod">
          <ac:chgData name="Frederick King" userId="bb732f183fe92d5e" providerId="LiveId" clId="{753283EB-EBC0-413C-B840-BF1DF8182372}" dt="2021-03-30T13:11:18.564" v="16166" actId="478"/>
          <ac:spMkLst>
            <pc:docMk/>
            <pc:sldMk cId="1227675704" sldId="289"/>
            <ac:spMk id="31" creationId="{32D3BC7F-B6B3-43E4-BA11-7C41349620BE}"/>
          </ac:spMkLst>
        </pc:spChg>
        <pc:spChg chg="add del mod">
          <ac:chgData name="Frederick King" userId="bb732f183fe92d5e" providerId="LiveId" clId="{753283EB-EBC0-413C-B840-BF1DF8182372}" dt="2021-03-30T13:11:18.564" v="16166" actId="478"/>
          <ac:spMkLst>
            <pc:docMk/>
            <pc:sldMk cId="1227675704" sldId="289"/>
            <ac:spMk id="32" creationId="{161CC864-26BB-443D-9655-228D17AC8CCB}"/>
          </ac:spMkLst>
        </pc:spChg>
        <pc:spChg chg="add del mod">
          <ac:chgData name="Frederick King" userId="bb732f183fe92d5e" providerId="LiveId" clId="{753283EB-EBC0-413C-B840-BF1DF8182372}" dt="2021-03-30T13:11:18.564" v="16166" actId="478"/>
          <ac:spMkLst>
            <pc:docMk/>
            <pc:sldMk cId="1227675704" sldId="289"/>
            <ac:spMk id="33" creationId="{1E5A5DA9-E80F-469E-ADF9-613580DEBEDC}"/>
          </ac:spMkLst>
        </pc:spChg>
        <pc:spChg chg="add del mod">
          <ac:chgData name="Frederick King" userId="bb732f183fe92d5e" providerId="LiveId" clId="{753283EB-EBC0-413C-B840-BF1DF8182372}" dt="2021-03-30T13:11:18.564" v="16166" actId="478"/>
          <ac:spMkLst>
            <pc:docMk/>
            <pc:sldMk cId="1227675704" sldId="289"/>
            <ac:spMk id="35" creationId="{AC03DFA0-418C-4689-BC6F-0B1BB1050E67}"/>
          </ac:spMkLst>
        </pc:spChg>
        <pc:spChg chg="add del mod">
          <ac:chgData name="Frederick King" userId="bb732f183fe92d5e" providerId="LiveId" clId="{753283EB-EBC0-413C-B840-BF1DF8182372}" dt="2021-03-30T13:11:18.564" v="16166" actId="478"/>
          <ac:spMkLst>
            <pc:docMk/>
            <pc:sldMk cId="1227675704" sldId="289"/>
            <ac:spMk id="36" creationId="{1EDB7AC0-F4CD-4735-8B47-E062D0208343}"/>
          </ac:spMkLst>
        </pc:spChg>
        <pc:spChg chg="add del mod">
          <ac:chgData name="Frederick King" userId="bb732f183fe92d5e" providerId="LiveId" clId="{753283EB-EBC0-413C-B840-BF1DF8182372}" dt="2021-03-30T13:11:18.564" v="16166" actId="478"/>
          <ac:spMkLst>
            <pc:docMk/>
            <pc:sldMk cId="1227675704" sldId="289"/>
            <ac:spMk id="37" creationId="{73CC662B-F2A1-45EA-B57E-757699182BB3}"/>
          </ac:spMkLst>
        </pc:spChg>
        <pc:spChg chg="add del mod">
          <ac:chgData name="Frederick King" userId="bb732f183fe92d5e" providerId="LiveId" clId="{753283EB-EBC0-413C-B840-BF1DF8182372}" dt="2021-03-30T13:11:18.564" v="16166" actId="478"/>
          <ac:spMkLst>
            <pc:docMk/>
            <pc:sldMk cId="1227675704" sldId="289"/>
            <ac:spMk id="38" creationId="{B720321B-B9E0-4CB7-B927-B6624096F2BB}"/>
          </ac:spMkLst>
        </pc:spChg>
        <pc:spChg chg="add del mod">
          <ac:chgData name="Frederick King" userId="bb732f183fe92d5e" providerId="LiveId" clId="{753283EB-EBC0-413C-B840-BF1DF8182372}" dt="2021-03-30T13:11:18.564" v="16166" actId="478"/>
          <ac:spMkLst>
            <pc:docMk/>
            <pc:sldMk cId="1227675704" sldId="289"/>
            <ac:spMk id="40" creationId="{472E50F1-5947-4E62-945D-5E5B76A46CCB}"/>
          </ac:spMkLst>
        </pc:spChg>
        <pc:spChg chg="add del mod">
          <ac:chgData name="Frederick King" userId="bb732f183fe92d5e" providerId="LiveId" clId="{753283EB-EBC0-413C-B840-BF1DF8182372}" dt="2021-03-30T13:11:18.564" v="16166" actId="478"/>
          <ac:spMkLst>
            <pc:docMk/>
            <pc:sldMk cId="1227675704" sldId="289"/>
            <ac:spMk id="41" creationId="{FBD89EB3-42C5-4C9B-87F3-CB789AE3BE28}"/>
          </ac:spMkLst>
        </pc:spChg>
        <pc:spChg chg="add del mod">
          <ac:chgData name="Frederick King" userId="bb732f183fe92d5e" providerId="LiveId" clId="{753283EB-EBC0-413C-B840-BF1DF8182372}" dt="2021-03-30T13:11:18.564" v="16166" actId="478"/>
          <ac:spMkLst>
            <pc:docMk/>
            <pc:sldMk cId="1227675704" sldId="289"/>
            <ac:spMk id="42" creationId="{CC6FAAED-D2EF-4E62-8249-991484991D08}"/>
          </ac:spMkLst>
        </pc:spChg>
        <pc:spChg chg="add mod topLvl">
          <ac:chgData name="Frederick King" userId="bb732f183fe92d5e" providerId="LiveId" clId="{753283EB-EBC0-413C-B840-BF1DF8182372}" dt="2021-03-30T13:22:28.942" v="16881" actId="164"/>
          <ac:spMkLst>
            <pc:docMk/>
            <pc:sldMk cId="1227675704" sldId="289"/>
            <ac:spMk id="46" creationId="{861D5A49-6D23-4032-9F66-D7B79207D0B2}"/>
          </ac:spMkLst>
        </pc:spChg>
        <pc:spChg chg="add mod topLvl">
          <ac:chgData name="Frederick King" userId="bb732f183fe92d5e" providerId="LiveId" clId="{753283EB-EBC0-413C-B840-BF1DF8182372}" dt="2021-04-20T11:54:23.294" v="21364" actId="12"/>
          <ac:spMkLst>
            <pc:docMk/>
            <pc:sldMk cId="1227675704" sldId="289"/>
            <ac:spMk id="47" creationId="{D8AE4388-D108-4891-B099-693A6C2B8F66}"/>
          </ac:spMkLst>
        </pc:spChg>
        <pc:spChg chg="add mod topLvl">
          <ac:chgData name="Frederick King" userId="bb732f183fe92d5e" providerId="LiveId" clId="{753283EB-EBC0-413C-B840-BF1DF8182372}" dt="2021-04-20T11:54:26.617" v="21365" actId="12"/>
          <ac:spMkLst>
            <pc:docMk/>
            <pc:sldMk cId="1227675704" sldId="289"/>
            <ac:spMk id="48" creationId="{72BA367F-19FF-484E-BA7E-125C30334578}"/>
          </ac:spMkLst>
        </pc:spChg>
        <pc:spChg chg="add mod topLvl">
          <ac:chgData name="Frederick King" userId="bb732f183fe92d5e" providerId="LiveId" clId="{753283EB-EBC0-413C-B840-BF1DF8182372}" dt="2021-04-20T11:54:30.745" v="21366" actId="12"/>
          <ac:spMkLst>
            <pc:docMk/>
            <pc:sldMk cId="1227675704" sldId="289"/>
            <ac:spMk id="49" creationId="{4060DF15-D569-43F0-983A-BA7109377102}"/>
          </ac:spMkLst>
        </pc:spChg>
        <pc:spChg chg="add del mod topLvl">
          <ac:chgData name="Frederick King" userId="bb732f183fe92d5e" providerId="LiveId" clId="{753283EB-EBC0-413C-B840-BF1DF8182372}" dt="2021-03-30T13:21:49.230" v="16863" actId="478"/>
          <ac:spMkLst>
            <pc:docMk/>
            <pc:sldMk cId="1227675704" sldId="289"/>
            <ac:spMk id="50" creationId="{1F4B8A32-4978-49FC-A047-637FDC278397}"/>
          </ac:spMkLst>
        </pc:spChg>
        <pc:spChg chg="add del mod topLvl">
          <ac:chgData name="Frederick King" userId="bb732f183fe92d5e" providerId="LiveId" clId="{753283EB-EBC0-413C-B840-BF1DF8182372}" dt="2021-03-30T13:21:49.230" v="16863" actId="478"/>
          <ac:spMkLst>
            <pc:docMk/>
            <pc:sldMk cId="1227675704" sldId="289"/>
            <ac:spMk id="51" creationId="{6F42F7B6-C890-4A25-8497-AFB0AE2DA86F}"/>
          </ac:spMkLst>
        </pc:spChg>
        <pc:spChg chg="add del mod topLvl">
          <ac:chgData name="Frederick King" userId="bb732f183fe92d5e" providerId="LiveId" clId="{753283EB-EBC0-413C-B840-BF1DF8182372}" dt="2021-03-30T13:21:49.230" v="16863" actId="478"/>
          <ac:spMkLst>
            <pc:docMk/>
            <pc:sldMk cId="1227675704" sldId="289"/>
            <ac:spMk id="52" creationId="{3C6ACC6F-5EAA-4D8C-8634-050C9662E00C}"/>
          </ac:spMkLst>
        </pc:spChg>
        <pc:spChg chg="add mod topLvl">
          <ac:chgData name="Frederick King" userId="bb732f183fe92d5e" providerId="LiveId" clId="{753283EB-EBC0-413C-B840-BF1DF8182372}" dt="2021-03-30T13:22:27.107" v="16880" actId="164"/>
          <ac:spMkLst>
            <pc:docMk/>
            <pc:sldMk cId="1227675704" sldId="289"/>
            <ac:spMk id="53" creationId="{FA0922B8-96F9-4D43-9F0A-81C01D0688D8}"/>
          </ac:spMkLst>
        </pc:spChg>
        <pc:spChg chg="add mod topLvl">
          <ac:chgData name="Frederick King" userId="bb732f183fe92d5e" providerId="LiveId" clId="{753283EB-EBC0-413C-B840-BF1DF8182372}" dt="2021-03-30T13:22:25.588" v="16879" actId="164"/>
          <ac:spMkLst>
            <pc:docMk/>
            <pc:sldMk cId="1227675704" sldId="289"/>
            <ac:spMk id="54" creationId="{AF5686C7-5FCE-424F-BA4C-A05774455BBC}"/>
          </ac:spMkLst>
        </pc:spChg>
        <pc:spChg chg="add del mod">
          <ac:chgData name="Frederick King" userId="bb732f183fe92d5e" providerId="LiveId" clId="{753283EB-EBC0-413C-B840-BF1DF8182372}" dt="2021-03-30T13:17:05.934" v="16397" actId="478"/>
          <ac:spMkLst>
            <pc:docMk/>
            <pc:sldMk cId="1227675704" sldId="289"/>
            <ac:spMk id="59" creationId="{65938A85-70CF-4E00-8FF6-BCB1A1CEA0A6}"/>
          </ac:spMkLst>
        </pc:spChg>
        <pc:spChg chg="add mod topLvl">
          <ac:chgData name="Frederick King" userId="bb732f183fe92d5e" providerId="LiveId" clId="{753283EB-EBC0-413C-B840-BF1DF8182372}" dt="2021-03-30T13:21:36.432" v="16861" actId="14100"/>
          <ac:spMkLst>
            <pc:docMk/>
            <pc:sldMk cId="1227675704" sldId="289"/>
            <ac:spMk id="61" creationId="{27456022-9F65-4CB9-BE2F-0F954CCAAE28}"/>
          </ac:spMkLst>
        </pc:spChg>
        <pc:spChg chg="add del mod topLvl">
          <ac:chgData name="Frederick King" userId="bb732f183fe92d5e" providerId="LiveId" clId="{753283EB-EBC0-413C-B840-BF1DF8182372}" dt="2021-04-20T11:48:02.356" v="21293" actId="478"/>
          <ac:spMkLst>
            <pc:docMk/>
            <pc:sldMk cId="1227675704" sldId="289"/>
            <ac:spMk id="65" creationId="{2FD6675E-4082-411C-AF47-6DA64AE3DEDA}"/>
          </ac:spMkLst>
        </pc:spChg>
        <pc:spChg chg="add mod topLvl">
          <ac:chgData name="Frederick King" userId="bb732f183fe92d5e" providerId="LiveId" clId="{753283EB-EBC0-413C-B840-BF1DF8182372}" dt="2021-04-20T09:14:52.801" v="21275" actId="20577"/>
          <ac:spMkLst>
            <pc:docMk/>
            <pc:sldMk cId="1227675704" sldId="289"/>
            <ac:spMk id="66" creationId="{8F0ADBC2-CB9A-45A0-8292-63D2249162D0}"/>
          </ac:spMkLst>
        </pc:spChg>
        <pc:spChg chg="add mod topLvl">
          <ac:chgData name="Frederick King" userId="bb732f183fe92d5e" providerId="LiveId" clId="{753283EB-EBC0-413C-B840-BF1DF8182372}" dt="2021-03-30T13:21:09.079" v="16855" actId="165"/>
          <ac:spMkLst>
            <pc:docMk/>
            <pc:sldMk cId="1227675704" sldId="289"/>
            <ac:spMk id="67" creationId="{D8A9875A-1FA4-4AEB-AFDD-54F76FD2399B}"/>
          </ac:spMkLst>
        </pc:spChg>
        <pc:spChg chg="add mod topLvl">
          <ac:chgData name="Frederick King" userId="bb732f183fe92d5e" providerId="LiveId" clId="{753283EB-EBC0-413C-B840-BF1DF8182372}" dt="2021-03-30T13:23:43.761" v="16988" actId="20577"/>
          <ac:spMkLst>
            <pc:docMk/>
            <pc:sldMk cId="1227675704" sldId="289"/>
            <ac:spMk id="68" creationId="{693ACE18-33AA-47CD-AE73-8ADBD59A6378}"/>
          </ac:spMkLst>
        </pc:spChg>
        <pc:spChg chg="add mod topLvl">
          <ac:chgData name="Frederick King" userId="bb732f183fe92d5e" providerId="LiveId" clId="{753283EB-EBC0-413C-B840-BF1DF8182372}" dt="2021-03-30T13:21:28.340" v="16858" actId="555"/>
          <ac:spMkLst>
            <pc:docMk/>
            <pc:sldMk cId="1227675704" sldId="289"/>
            <ac:spMk id="69" creationId="{F557D778-3BE4-43AB-B84A-A6F24EAFBE96}"/>
          </ac:spMkLst>
        </pc:spChg>
        <pc:spChg chg="add del mod modVis">
          <ac:chgData name="Frederick King" userId="bb732f183fe92d5e" providerId="LiveId" clId="{753283EB-EBC0-413C-B840-BF1DF8182372}" dt="2021-03-30T13:19:04.712" v="16683" actId="962"/>
          <ac:spMkLst>
            <pc:docMk/>
            <pc:sldMk cId="1227675704" sldId="289"/>
            <ac:spMk id="71" creationId="{56D6C6CA-E705-449E-8B92-FBC82D364CB2}"/>
          </ac:spMkLst>
        </pc:spChg>
        <pc:spChg chg="add del mod modVis">
          <ac:chgData name="Frederick King" userId="bb732f183fe92d5e" providerId="LiveId" clId="{753283EB-EBC0-413C-B840-BF1DF8182372}" dt="2021-03-30T13:19:04.365" v="16643" actId="962"/>
          <ac:spMkLst>
            <pc:docMk/>
            <pc:sldMk cId="1227675704" sldId="289"/>
            <ac:spMk id="72" creationId="{8234AE63-5D2C-407A-BCE0-2892C1287866}"/>
          </ac:spMkLst>
        </pc:spChg>
        <pc:spChg chg="add del mod modVis">
          <ac:chgData name="Frederick King" userId="bb732f183fe92d5e" providerId="LiveId" clId="{753283EB-EBC0-413C-B840-BF1DF8182372}" dt="2021-03-30T13:19:08.119" v="16726"/>
          <ac:spMkLst>
            <pc:docMk/>
            <pc:sldMk cId="1227675704" sldId="289"/>
            <ac:spMk id="73" creationId="{F6B2CD20-39F2-43C8-8755-6B596B973AA1}"/>
          </ac:spMkLst>
        </pc:spChg>
        <pc:grpChg chg="add del mod topLvl">
          <ac:chgData name="Frederick King" userId="bb732f183fe92d5e" providerId="LiveId" clId="{753283EB-EBC0-413C-B840-BF1DF8182372}" dt="2021-03-30T13:21:45.982" v="16862" actId="165"/>
          <ac:grpSpMkLst>
            <pc:docMk/>
            <pc:sldMk cId="1227675704" sldId="289"/>
            <ac:grpSpMk id="55" creationId="{9D8878C0-0B6D-4E4D-B164-C368722DBD85}"/>
          </ac:grpSpMkLst>
        </pc:grpChg>
        <pc:grpChg chg="add del mod topLvl">
          <ac:chgData name="Frederick King" userId="bb732f183fe92d5e" providerId="LiveId" clId="{753283EB-EBC0-413C-B840-BF1DF8182372}" dt="2021-03-30T13:21:45.982" v="16862" actId="165"/>
          <ac:grpSpMkLst>
            <pc:docMk/>
            <pc:sldMk cId="1227675704" sldId="289"/>
            <ac:grpSpMk id="56" creationId="{2844E6B1-19BF-40E2-BAE5-1A772B1E12A2}"/>
          </ac:grpSpMkLst>
        </pc:grpChg>
        <pc:grpChg chg="add del mod topLvl">
          <ac:chgData name="Frederick King" userId="bb732f183fe92d5e" providerId="LiveId" clId="{753283EB-EBC0-413C-B840-BF1DF8182372}" dt="2021-03-30T13:21:09.079" v="16855" actId="165"/>
          <ac:grpSpMkLst>
            <pc:docMk/>
            <pc:sldMk cId="1227675704" sldId="289"/>
            <ac:grpSpMk id="57" creationId="{BE049CFB-7536-4720-B80D-9863B6566311}"/>
          </ac:grpSpMkLst>
        </pc:grpChg>
        <pc:grpChg chg="add del mod ord">
          <ac:chgData name="Frederick King" userId="bb732f183fe92d5e" providerId="LiveId" clId="{753283EB-EBC0-413C-B840-BF1DF8182372}" dt="2021-03-30T13:18:55.079" v="16500" actId="165"/>
          <ac:grpSpMkLst>
            <pc:docMk/>
            <pc:sldMk cId="1227675704" sldId="289"/>
            <ac:grpSpMk id="60" creationId="{D1C77311-088E-4F76-9568-2B23B8AA2822}"/>
          </ac:grpSpMkLst>
        </pc:grpChg>
        <pc:grpChg chg="add del mod ord">
          <ac:chgData name="Frederick King" userId="bb732f183fe92d5e" providerId="LiveId" clId="{753283EB-EBC0-413C-B840-BF1DF8182372}" dt="2021-03-30T13:21:09.079" v="16855" actId="165"/>
          <ac:grpSpMkLst>
            <pc:docMk/>
            <pc:sldMk cId="1227675704" sldId="289"/>
            <ac:grpSpMk id="70" creationId="{7BFB2242-4D95-48E2-A8C5-36781C2D6E2D}"/>
          </ac:grpSpMkLst>
        </pc:grpChg>
        <pc:grpChg chg="add mod">
          <ac:chgData name="Frederick King" userId="bb732f183fe92d5e" providerId="LiveId" clId="{753283EB-EBC0-413C-B840-BF1DF8182372}" dt="2021-03-30T13:22:37.161" v="16893" actId="408"/>
          <ac:grpSpMkLst>
            <pc:docMk/>
            <pc:sldMk cId="1227675704" sldId="289"/>
            <ac:grpSpMk id="74" creationId="{75B5384B-2B2C-4C04-AD9F-89B21E31FF64}"/>
          </ac:grpSpMkLst>
        </pc:grpChg>
        <pc:grpChg chg="add mod">
          <ac:chgData name="Frederick King" userId="bb732f183fe92d5e" providerId="LiveId" clId="{753283EB-EBC0-413C-B840-BF1DF8182372}" dt="2021-03-30T13:22:37.161" v="16893" actId="408"/>
          <ac:grpSpMkLst>
            <pc:docMk/>
            <pc:sldMk cId="1227675704" sldId="289"/>
            <ac:grpSpMk id="75" creationId="{EFBE8A65-4F79-4D55-BFE4-875347FFD0CB}"/>
          </ac:grpSpMkLst>
        </pc:grpChg>
        <pc:grpChg chg="add mod">
          <ac:chgData name="Frederick King" userId="bb732f183fe92d5e" providerId="LiveId" clId="{753283EB-EBC0-413C-B840-BF1DF8182372}" dt="2021-03-30T13:22:28.942" v="16881" actId="164"/>
          <ac:grpSpMkLst>
            <pc:docMk/>
            <pc:sldMk cId="1227675704" sldId="289"/>
            <ac:grpSpMk id="76" creationId="{300ADD48-B9B8-4D82-924F-D319951F51FD}"/>
          </ac:grpSpMkLst>
        </pc:grpChg>
        <pc:graphicFrameChg chg="mod ord">
          <ac:chgData name="Frederick King" userId="bb732f183fe92d5e" providerId="LiveId" clId="{753283EB-EBC0-413C-B840-BF1DF8182372}" dt="2021-03-30T13:19:08.119" v="16728"/>
          <ac:graphicFrameMkLst>
            <pc:docMk/>
            <pc:sldMk cId="1227675704" sldId="289"/>
            <ac:graphicFrameMk id="4" creationId="{FF06BB48-B0E5-41AF-B5B7-C7A2F69B0F35}"/>
          </ac:graphicFrameMkLst>
        </pc:graphicFrameChg>
        <pc:cxnChg chg="add del mod">
          <ac:chgData name="Frederick King" userId="bb732f183fe92d5e" providerId="LiveId" clId="{753283EB-EBC0-413C-B840-BF1DF8182372}" dt="2021-03-30T13:11:18.564" v="16166" actId="478"/>
          <ac:cxnSpMkLst>
            <pc:docMk/>
            <pc:sldMk cId="1227675704" sldId="289"/>
            <ac:cxnSpMk id="22" creationId="{1F07C3EE-DA39-40BF-A09F-88FBB34206A7}"/>
          </ac:cxnSpMkLst>
        </pc:cxnChg>
        <pc:cxnChg chg="add del mod">
          <ac:chgData name="Frederick King" userId="bb732f183fe92d5e" providerId="LiveId" clId="{753283EB-EBC0-413C-B840-BF1DF8182372}" dt="2021-03-30T13:11:18.564" v="16166" actId="478"/>
          <ac:cxnSpMkLst>
            <pc:docMk/>
            <pc:sldMk cId="1227675704" sldId="289"/>
            <ac:cxnSpMk id="24" creationId="{11262977-58E0-4500-B9B7-6D62442E6B93}"/>
          </ac:cxnSpMkLst>
        </pc:cxnChg>
        <pc:cxnChg chg="add del mod">
          <ac:chgData name="Frederick King" userId="bb732f183fe92d5e" providerId="LiveId" clId="{753283EB-EBC0-413C-B840-BF1DF8182372}" dt="2021-03-30T13:11:18.564" v="16166" actId="478"/>
          <ac:cxnSpMkLst>
            <pc:docMk/>
            <pc:sldMk cId="1227675704" sldId="289"/>
            <ac:cxnSpMk id="29" creationId="{0F537BF9-6FD5-4C97-958B-6864EEC43FAC}"/>
          </ac:cxnSpMkLst>
        </pc:cxnChg>
        <pc:cxnChg chg="add del mod">
          <ac:chgData name="Frederick King" userId="bb732f183fe92d5e" providerId="LiveId" clId="{753283EB-EBC0-413C-B840-BF1DF8182372}" dt="2021-03-30T13:11:18.564" v="16166" actId="478"/>
          <ac:cxnSpMkLst>
            <pc:docMk/>
            <pc:sldMk cId="1227675704" sldId="289"/>
            <ac:cxnSpMk id="34" creationId="{0D333FD4-963E-49DB-8A23-F8E2677DF2DC}"/>
          </ac:cxnSpMkLst>
        </pc:cxnChg>
        <pc:cxnChg chg="add del mod">
          <ac:chgData name="Frederick King" userId="bb732f183fe92d5e" providerId="LiveId" clId="{753283EB-EBC0-413C-B840-BF1DF8182372}" dt="2021-03-30T13:11:18.564" v="16166" actId="478"/>
          <ac:cxnSpMkLst>
            <pc:docMk/>
            <pc:sldMk cId="1227675704" sldId="289"/>
            <ac:cxnSpMk id="39" creationId="{02397184-5129-49BC-AD98-11123A0729EC}"/>
          </ac:cxnSpMkLst>
        </pc:cxnChg>
        <pc:cxnChg chg="add mod topLvl">
          <ac:chgData name="Frederick King" userId="bb732f183fe92d5e" providerId="LiveId" clId="{753283EB-EBC0-413C-B840-BF1DF8182372}" dt="2021-03-30T13:22:28.942" v="16881" actId="164"/>
          <ac:cxnSpMkLst>
            <pc:docMk/>
            <pc:sldMk cId="1227675704" sldId="289"/>
            <ac:cxnSpMk id="43" creationId="{02522D67-F796-4173-89E3-06BE9F35B0F8}"/>
          </ac:cxnSpMkLst>
        </pc:cxnChg>
        <pc:cxnChg chg="add mod topLvl">
          <ac:chgData name="Frederick King" userId="bb732f183fe92d5e" providerId="LiveId" clId="{753283EB-EBC0-413C-B840-BF1DF8182372}" dt="2021-03-30T13:22:27.107" v="16880" actId="164"/>
          <ac:cxnSpMkLst>
            <pc:docMk/>
            <pc:sldMk cId="1227675704" sldId="289"/>
            <ac:cxnSpMk id="44" creationId="{1B71F45A-523D-4933-8709-D19DE5780E8E}"/>
          </ac:cxnSpMkLst>
        </pc:cxnChg>
        <pc:cxnChg chg="add mod topLvl">
          <ac:chgData name="Frederick King" userId="bb732f183fe92d5e" providerId="LiveId" clId="{753283EB-EBC0-413C-B840-BF1DF8182372}" dt="2021-03-30T13:22:25.588" v="16879" actId="164"/>
          <ac:cxnSpMkLst>
            <pc:docMk/>
            <pc:sldMk cId="1227675704" sldId="289"/>
            <ac:cxnSpMk id="45" creationId="{BFD46060-7413-4BDB-B209-CDFFCDD4D385}"/>
          </ac:cxnSpMkLst>
        </pc:cxnChg>
        <pc:cxnChg chg="add mod topLvl">
          <ac:chgData name="Frederick King" userId="bb732f183fe92d5e" providerId="LiveId" clId="{753283EB-EBC0-413C-B840-BF1DF8182372}" dt="2021-03-30T13:21:09.079" v="16855" actId="165"/>
          <ac:cxnSpMkLst>
            <pc:docMk/>
            <pc:sldMk cId="1227675704" sldId="289"/>
            <ac:cxnSpMk id="62" creationId="{BFBDA1EF-BE26-412D-9BD3-9E1B56D1C0DB}"/>
          </ac:cxnSpMkLst>
        </pc:cxnChg>
        <pc:cxnChg chg="add mod topLvl">
          <ac:chgData name="Frederick King" userId="bb732f183fe92d5e" providerId="LiveId" clId="{753283EB-EBC0-413C-B840-BF1DF8182372}" dt="2021-04-20T11:47:59.978" v="21292" actId="693"/>
          <ac:cxnSpMkLst>
            <pc:docMk/>
            <pc:sldMk cId="1227675704" sldId="289"/>
            <ac:cxnSpMk id="63" creationId="{14F8208F-7078-4EDB-83CA-5288DDBB43FE}"/>
          </ac:cxnSpMkLst>
        </pc:cxnChg>
        <pc:cxnChg chg="add mod topLvl">
          <ac:chgData name="Frederick King" userId="bb732f183fe92d5e" providerId="LiveId" clId="{753283EB-EBC0-413C-B840-BF1DF8182372}" dt="2021-04-20T11:47:59.978" v="21292" actId="693"/>
          <ac:cxnSpMkLst>
            <pc:docMk/>
            <pc:sldMk cId="1227675704" sldId="289"/>
            <ac:cxnSpMk id="64" creationId="{F9E91C89-3BD1-46CA-B07A-F4A9F23F9A84}"/>
          </ac:cxnSpMkLst>
        </pc:cxnChg>
      </pc:sldChg>
      <pc:sldChg chg="addSp delSp modSp add del mod">
        <pc:chgData name="Frederick King" userId="bb732f183fe92d5e" providerId="LiveId" clId="{753283EB-EBC0-413C-B840-BF1DF8182372}" dt="2021-03-29T16:55:33.015" v="2097" actId="47"/>
        <pc:sldMkLst>
          <pc:docMk/>
          <pc:sldMk cId="3966649577" sldId="289"/>
        </pc:sldMkLst>
        <pc:spChg chg="mod">
          <ac:chgData name="Frederick King" userId="bb732f183fe92d5e" providerId="LiveId" clId="{753283EB-EBC0-413C-B840-BF1DF8182372}" dt="2021-03-29T13:53:03.877" v="1086" actId="948"/>
          <ac:spMkLst>
            <pc:docMk/>
            <pc:sldMk cId="3966649577" sldId="289"/>
            <ac:spMk id="2" creationId="{88395490-5244-46CE-8656-58BB910011B6}"/>
          </ac:spMkLst>
        </pc:spChg>
        <pc:spChg chg="del">
          <ac:chgData name="Frederick King" userId="bb732f183fe92d5e" providerId="LiveId" clId="{753283EB-EBC0-413C-B840-BF1DF8182372}" dt="2021-03-29T13:49:40.836" v="947" actId="478"/>
          <ac:spMkLst>
            <pc:docMk/>
            <pc:sldMk cId="3966649577" sldId="289"/>
            <ac:spMk id="4" creationId="{D3673574-F330-47E9-883D-2649864648AE}"/>
          </ac:spMkLst>
        </pc:spChg>
        <pc:spChg chg="add del mod modVis">
          <ac:chgData name="Frederick King" userId="bb732f183fe92d5e" providerId="LiveId" clId="{753283EB-EBC0-413C-B840-BF1DF8182372}" dt="2021-03-29T13:52:55.731" v="1056"/>
          <ac:spMkLst>
            <pc:docMk/>
            <pc:sldMk cId="3966649577" sldId="289"/>
            <ac:spMk id="6" creationId="{DCCA6BF9-A6D1-4E6D-A0A2-4B358584EFA4}"/>
          </ac:spMkLst>
        </pc:spChg>
        <pc:spChg chg="mod">
          <ac:chgData name="Frederick King" userId="bb732f183fe92d5e" providerId="LiveId" clId="{753283EB-EBC0-413C-B840-BF1DF8182372}" dt="2021-03-29T13:50:16.349" v="962" actId="255"/>
          <ac:spMkLst>
            <pc:docMk/>
            <pc:sldMk cId="3966649577" sldId="289"/>
            <ac:spMk id="8" creationId="{A86C64D9-6ADC-41AE-A988-A7D14F39C136}"/>
          </ac:spMkLst>
        </pc:spChg>
        <pc:spChg chg="add del mod">
          <ac:chgData name="Frederick King" userId="bb732f183fe92d5e" providerId="LiveId" clId="{753283EB-EBC0-413C-B840-BF1DF8182372}" dt="2021-03-29T13:52:37.148" v="1012" actId="478"/>
          <ac:spMkLst>
            <pc:docMk/>
            <pc:sldMk cId="3966649577" sldId="289"/>
            <ac:spMk id="12" creationId="{01F3B44A-8B06-4F83-BC60-C96DF21873A5}"/>
          </ac:spMkLst>
        </pc:spChg>
        <pc:spChg chg="add del mod">
          <ac:chgData name="Frederick King" userId="bb732f183fe92d5e" providerId="LiveId" clId="{753283EB-EBC0-413C-B840-BF1DF8182372}" dt="2021-03-29T13:52:37.148" v="1012" actId="478"/>
          <ac:spMkLst>
            <pc:docMk/>
            <pc:sldMk cId="3966649577" sldId="289"/>
            <ac:spMk id="15" creationId="{6A569992-DA25-4B85-B402-5DDA9D9A7D34}"/>
          </ac:spMkLst>
        </pc:spChg>
        <pc:spChg chg="add mod">
          <ac:chgData name="Frederick King" userId="bb732f183fe92d5e" providerId="LiveId" clId="{753283EB-EBC0-413C-B840-BF1DF8182372}" dt="2021-03-29T16:46:07.401" v="1496" actId="20577"/>
          <ac:spMkLst>
            <pc:docMk/>
            <pc:sldMk cId="3966649577" sldId="289"/>
            <ac:spMk id="16" creationId="{75A5CA41-23FD-4C55-B9DF-0E166F420E23}"/>
          </ac:spMkLst>
        </pc:spChg>
        <pc:spChg chg="add mod">
          <ac:chgData name="Frederick King" userId="bb732f183fe92d5e" providerId="LiveId" clId="{753283EB-EBC0-413C-B840-BF1DF8182372}" dt="2021-03-29T16:43:21.660" v="1305" actId="20577"/>
          <ac:spMkLst>
            <pc:docMk/>
            <pc:sldMk cId="3966649577" sldId="289"/>
            <ac:spMk id="18" creationId="{A3088805-F7CE-4F57-90B2-8B5D6A0859BD}"/>
          </ac:spMkLst>
        </pc:spChg>
        <pc:spChg chg="add del mod">
          <ac:chgData name="Frederick King" userId="bb732f183fe92d5e" providerId="LiveId" clId="{753283EB-EBC0-413C-B840-BF1DF8182372}" dt="2021-03-29T13:52:37.148" v="1012" actId="478"/>
          <ac:spMkLst>
            <pc:docMk/>
            <pc:sldMk cId="3966649577" sldId="289"/>
            <ac:spMk id="20" creationId="{D8A9165B-AEFA-4182-B248-2770C6A56897}"/>
          </ac:spMkLst>
        </pc:spChg>
        <pc:spChg chg="add del mod">
          <ac:chgData name="Frederick King" userId="bb732f183fe92d5e" providerId="LiveId" clId="{753283EB-EBC0-413C-B840-BF1DF8182372}" dt="2021-03-29T13:52:37.148" v="1012" actId="478"/>
          <ac:spMkLst>
            <pc:docMk/>
            <pc:sldMk cId="3966649577" sldId="289"/>
            <ac:spMk id="22" creationId="{5C3CD097-A0CD-46DD-AA28-5D8C7BF93866}"/>
          </ac:spMkLst>
        </pc:spChg>
        <pc:spChg chg="add mod">
          <ac:chgData name="Frederick King" userId="bb732f183fe92d5e" providerId="LiveId" clId="{753283EB-EBC0-413C-B840-BF1DF8182372}" dt="2021-03-29T16:49:06.956" v="1811" actId="20577"/>
          <ac:spMkLst>
            <pc:docMk/>
            <pc:sldMk cId="3966649577" sldId="289"/>
            <ac:spMk id="23" creationId="{7A4D14EC-5515-4381-AA7F-095B2C158FFC}"/>
          </ac:spMkLst>
        </pc:spChg>
        <pc:spChg chg="add mod">
          <ac:chgData name="Frederick King" userId="bb732f183fe92d5e" providerId="LiveId" clId="{753283EB-EBC0-413C-B840-BF1DF8182372}" dt="2021-03-29T13:53:24.801" v="1174" actId="20577"/>
          <ac:spMkLst>
            <pc:docMk/>
            <pc:sldMk cId="3966649577" sldId="289"/>
            <ac:spMk id="25" creationId="{2A216CCD-D9C0-4FB9-B505-B9BDCDAEB58C}"/>
          </ac:spMkLst>
        </pc:spChg>
        <pc:spChg chg="add del mod">
          <ac:chgData name="Frederick King" userId="bb732f183fe92d5e" providerId="LiveId" clId="{753283EB-EBC0-413C-B840-BF1DF8182372}" dt="2021-03-29T13:52:31.796" v="1011" actId="478"/>
          <ac:spMkLst>
            <pc:docMk/>
            <pc:sldMk cId="3966649577" sldId="289"/>
            <ac:spMk id="27" creationId="{F3F7F43D-6D89-486D-B3CF-C2EE87FA031D}"/>
          </ac:spMkLst>
        </pc:spChg>
        <pc:spChg chg="add del mod">
          <ac:chgData name="Frederick King" userId="bb732f183fe92d5e" providerId="LiveId" clId="{753283EB-EBC0-413C-B840-BF1DF8182372}" dt="2021-03-29T13:52:31.796" v="1011" actId="478"/>
          <ac:spMkLst>
            <pc:docMk/>
            <pc:sldMk cId="3966649577" sldId="289"/>
            <ac:spMk id="29" creationId="{86ED438F-BC60-4E40-A353-BD098CBCC377}"/>
          </ac:spMkLst>
        </pc:spChg>
        <pc:spChg chg="add del mod">
          <ac:chgData name="Frederick King" userId="bb732f183fe92d5e" providerId="LiveId" clId="{753283EB-EBC0-413C-B840-BF1DF8182372}" dt="2021-03-29T13:52:31.796" v="1011" actId="478"/>
          <ac:spMkLst>
            <pc:docMk/>
            <pc:sldMk cId="3966649577" sldId="289"/>
            <ac:spMk id="30" creationId="{0D4BA819-A528-4EBB-AF4C-1861160EA4FA}"/>
          </ac:spMkLst>
        </pc:spChg>
        <pc:spChg chg="add del mod">
          <ac:chgData name="Frederick King" userId="bb732f183fe92d5e" providerId="LiveId" clId="{753283EB-EBC0-413C-B840-BF1DF8182372}" dt="2021-03-29T13:52:19.952" v="1010" actId="478"/>
          <ac:spMkLst>
            <pc:docMk/>
            <pc:sldMk cId="3966649577" sldId="289"/>
            <ac:spMk id="32" creationId="{F5ABCDC0-2E6B-4AF4-A844-613F33E1278C}"/>
          </ac:spMkLst>
        </pc:spChg>
        <pc:spChg chg="add del mod">
          <ac:chgData name="Frederick King" userId="bb732f183fe92d5e" providerId="LiveId" clId="{753283EB-EBC0-413C-B840-BF1DF8182372}" dt="2021-03-29T13:52:37.148" v="1012" actId="478"/>
          <ac:spMkLst>
            <pc:docMk/>
            <pc:sldMk cId="3966649577" sldId="289"/>
            <ac:spMk id="34" creationId="{EC30713A-BDA6-4815-A6E4-28835ACE0F6F}"/>
          </ac:spMkLst>
        </pc:spChg>
        <pc:spChg chg="add del mod">
          <ac:chgData name="Frederick King" userId="bb732f183fe92d5e" providerId="LiveId" clId="{753283EB-EBC0-413C-B840-BF1DF8182372}" dt="2021-03-29T13:52:37.148" v="1012" actId="478"/>
          <ac:spMkLst>
            <pc:docMk/>
            <pc:sldMk cId="3966649577" sldId="289"/>
            <ac:spMk id="36" creationId="{71F99962-54FE-4019-89B3-0C1E27F1804B}"/>
          </ac:spMkLst>
        </pc:spChg>
        <pc:spChg chg="add del mod">
          <ac:chgData name="Frederick King" userId="bb732f183fe92d5e" providerId="LiveId" clId="{753283EB-EBC0-413C-B840-BF1DF8182372}" dt="2021-03-29T13:52:31.796" v="1011" actId="478"/>
          <ac:spMkLst>
            <pc:docMk/>
            <pc:sldMk cId="3966649577" sldId="289"/>
            <ac:spMk id="38" creationId="{526F6E12-92CB-4A42-BFB0-01E576820816}"/>
          </ac:spMkLst>
        </pc:spChg>
        <pc:spChg chg="add del mod modVis">
          <ac:chgData name="Frederick King" userId="bb732f183fe92d5e" providerId="LiveId" clId="{753283EB-EBC0-413C-B840-BF1DF8182372}" dt="2021-03-29T13:53:03.916" v="1123"/>
          <ac:spMkLst>
            <pc:docMk/>
            <pc:sldMk cId="3966649577" sldId="289"/>
            <ac:spMk id="39" creationId="{F8A9D970-77B2-435C-BCEC-E66F593ECC1B}"/>
          </ac:spMkLst>
        </pc:spChg>
        <pc:spChg chg="add del mod">
          <ac:chgData name="Frederick King" userId="bb732f183fe92d5e" providerId="LiveId" clId="{753283EB-EBC0-413C-B840-BF1DF8182372}" dt="2021-03-29T13:55:30.851" v="1188" actId="478"/>
          <ac:spMkLst>
            <pc:docMk/>
            <pc:sldMk cId="3966649577" sldId="289"/>
            <ac:spMk id="40" creationId="{7B2C8EA3-B7F0-449D-81EF-CF821F9DB0E7}"/>
          </ac:spMkLst>
        </pc:spChg>
        <pc:grpChg chg="add mod">
          <ac:chgData name="Frederick King" userId="bb732f183fe92d5e" providerId="LiveId" clId="{753283EB-EBC0-413C-B840-BF1DF8182372}" dt="2021-03-29T13:54:30.701" v="1187" actId="553"/>
          <ac:grpSpMkLst>
            <pc:docMk/>
            <pc:sldMk cId="3966649577" sldId="289"/>
            <ac:grpSpMk id="3" creationId="{BAF8F106-C3A3-4CF5-BA36-A3421FB51F42}"/>
          </ac:grpSpMkLst>
        </pc:grpChg>
        <pc:grpChg chg="add mod">
          <ac:chgData name="Frederick King" userId="bb732f183fe92d5e" providerId="LiveId" clId="{753283EB-EBC0-413C-B840-BF1DF8182372}" dt="2021-03-29T13:53:03.370" v="1085" actId="553"/>
          <ac:grpSpMkLst>
            <pc:docMk/>
            <pc:sldMk cId="3966649577" sldId="289"/>
            <ac:grpSpMk id="5" creationId="{59FB4EEF-DA5E-4EA5-A4BA-B668A95C4A38}"/>
          </ac:grpSpMkLst>
        </pc:grpChg>
        <pc:graphicFrameChg chg="mod">
          <ac:chgData name="Frederick King" userId="bb732f183fe92d5e" providerId="LiveId" clId="{753283EB-EBC0-413C-B840-BF1DF8182372}" dt="2021-03-29T13:53:03.919" v="1125"/>
          <ac:graphicFrameMkLst>
            <pc:docMk/>
            <pc:sldMk cId="3966649577" sldId="289"/>
            <ac:graphicFrameMk id="7" creationId="{7062420D-45C1-4BB4-80E2-85AA2168BDB7}"/>
          </ac:graphicFrameMkLst>
        </pc:graphicFrameChg>
        <pc:graphicFrameChg chg="del">
          <ac:chgData name="Frederick King" userId="bb732f183fe92d5e" providerId="LiveId" clId="{753283EB-EBC0-413C-B840-BF1DF8182372}" dt="2021-03-29T13:49:36.826" v="946" actId="478"/>
          <ac:graphicFrameMkLst>
            <pc:docMk/>
            <pc:sldMk cId="3966649577" sldId="289"/>
            <ac:graphicFrameMk id="9" creationId="{3F0CBEE6-308C-48B4-AD3F-0546A56450BC}"/>
          </ac:graphicFrameMkLst>
        </pc:graphicFrameChg>
        <pc:graphicFrameChg chg="add del mod">
          <ac:chgData name="Frederick King" userId="bb732f183fe92d5e" providerId="LiveId" clId="{753283EB-EBC0-413C-B840-BF1DF8182372}" dt="2021-03-29T13:51:53.460" v="1008" actId="478"/>
          <ac:graphicFrameMkLst>
            <pc:docMk/>
            <pc:sldMk cId="3966649577" sldId="289"/>
            <ac:graphicFrameMk id="10" creationId="{B2F288D8-A072-4186-8C0E-BDB3CF26D3BF}"/>
          </ac:graphicFrameMkLst>
        </pc:graphicFrameChg>
        <pc:cxnChg chg="add del mod">
          <ac:chgData name="Frederick King" userId="bb732f183fe92d5e" providerId="LiveId" clId="{753283EB-EBC0-413C-B840-BF1DF8182372}" dt="2021-03-29T13:52:37.148" v="1012" actId="478"/>
          <ac:cxnSpMkLst>
            <pc:docMk/>
            <pc:sldMk cId="3966649577" sldId="289"/>
            <ac:cxnSpMk id="11" creationId="{D169C792-DF3D-43DA-9ACE-F30A945D7620}"/>
          </ac:cxnSpMkLst>
        </pc:cxnChg>
        <pc:cxnChg chg="add del mod">
          <ac:chgData name="Frederick King" userId="bb732f183fe92d5e" providerId="LiveId" clId="{753283EB-EBC0-413C-B840-BF1DF8182372}" dt="2021-03-29T13:52:37.148" v="1012" actId="478"/>
          <ac:cxnSpMkLst>
            <pc:docMk/>
            <pc:sldMk cId="3966649577" sldId="289"/>
            <ac:cxnSpMk id="14" creationId="{C8DA2C2D-CEEA-42C7-8714-C3382F629611}"/>
          </ac:cxnSpMkLst>
        </pc:cxnChg>
        <pc:cxnChg chg="add mod">
          <ac:chgData name="Frederick King" userId="bb732f183fe92d5e" providerId="LiveId" clId="{753283EB-EBC0-413C-B840-BF1DF8182372}" dt="2021-03-29T13:52:46.568" v="1015" actId="164"/>
          <ac:cxnSpMkLst>
            <pc:docMk/>
            <pc:sldMk cId="3966649577" sldId="289"/>
            <ac:cxnSpMk id="17" creationId="{14182A38-18DB-4290-9D7F-0085B56FE3AA}"/>
          </ac:cxnSpMkLst>
        </pc:cxnChg>
        <pc:cxnChg chg="add del mod">
          <ac:chgData name="Frederick King" userId="bb732f183fe92d5e" providerId="LiveId" clId="{753283EB-EBC0-413C-B840-BF1DF8182372}" dt="2021-03-29T13:52:37.148" v="1012" actId="478"/>
          <ac:cxnSpMkLst>
            <pc:docMk/>
            <pc:sldMk cId="3966649577" sldId="289"/>
            <ac:cxnSpMk id="19" creationId="{E3C5396F-52A3-4B32-8722-A624812DCCAA}"/>
          </ac:cxnSpMkLst>
        </pc:cxnChg>
        <pc:cxnChg chg="add del mod">
          <ac:chgData name="Frederick King" userId="bb732f183fe92d5e" providerId="LiveId" clId="{753283EB-EBC0-413C-B840-BF1DF8182372}" dt="2021-03-29T13:52:37.148" v="1012" actId="478"/>
          <ac:cxnSpMkLst>
            <pc:docMk/>
            <pc:sldMk cId="3966649577" sldId="289"/>
            <ac:cxnSpMk id="21" creationId="{6A94EC69-A1B2-4DA6-9889-F56A966CC205}"/>
          </ac:cxnSpMkLst>
        </pc:cxnChg>
        <pc:cxnChg chg="add mod">
          <ac:chgData name="Frederick King" userId="bb732f183fe92d5e" providerId="LiveId" clId="{753283EB-EBC0-413C-B840-BF1DF8182372}" dt="2021-03-29T13:52:48.631" v="1016" actId="164"/>
          <ac:cxnSpMkLst>
            <pc:docMk/>
            <pc:sldMk cId="3966649577" sldId="289"/>
            <ac:cxnSpMk id="24" creationId="{A56B3681-FF48-470A-AB07-D28A3FF02752}"/>
          </ac:cxnSpMkLst>
        </pc:cxnChg>
        <pc:cxnChg chg="add del mod">
          <ac:chgData name="Frederick King" userId="bb732f183fe92d5e" providerId="LiveId" clId="{753283EB-EBC0-413C-B840-BF1DF8182372}" dt="2021-03-29T13:52:31.796" v="1011" actId="478"/>
          <ac:cxnSpMkLst>
            <pc:docMk/>
            <pc:sldMk cId="3966649577" sldId="289"/>
            <ac:cxnSpMk id="26" creationId="{54366768-356D-4B63-B11E-149AAF67534A}"/>
          </ac:cxnSpMkLst>
        </pc:cxnChg>
        <pc:cxnChg chg="add del mod">
          <ac:chgData name="Frederick King" userId="bb732f183fe92d5e" providerId="LiveId" clId="{753283EB-EBC0-413C-B840-BF1DF8182372}" dt="2021-03-29T13:52:31.796" v="1011" actId="478"/>
          <ac:cxnSpMkLst>
            <pc:docMk/>
            <pc:sldMk cId="3966649577" sldId="289"/>
            <ac:cxnSpMk id="28" creationId="{816DA615-EF11-46CE-995A-7E8CEC0A71C9}"/>
          </ac:cxnSpMkLst>
        </pc:cxnChg>
        <pc:cxnChg chg="add del mod">
          <ac:chgData name="Frederick King" userId="bb732f183fe92d5e" providerId="LiveId" clId="{753283EB-EBC0-413C-B840-BF1DF8182372}" dt="2021-03-29T13:52:31.796" v="1011" actId="478"/>
          <ac:cxnSpMkLst>
            <pc:docMk/>
            <pc:sldMk cId="3966649577" sldId="289"/>
            <ac:cxnSpMk id="31" creationId="{36672309-F655-4DDE-AEDA-058145D8879F}"/>
          </ac:cxnSpMkLst>
        </pc:cxnChg>
        <pc:cxnChg chg="add del mod">
          <ac:chgData name="Frederick King" userId="bb732f183fe92d5e" providerId="LiveId" clId="{753283EB-EBC0-413C-B840-BF1DF8182372}" dt="2021-03-29T13:52:37.148" v="1012" actId="478"/>
          <ac:cxnSpMkLst>
            <pc:docMk/>
            <pc:sldMk cId="3966649577" sldId="289"/>
            <ac:cxnSpMk id="33" creationId="{5B830E1A-047C-40CC-A5FA-8039FB1CB544}"/>
          </ac:cxnSpMkLst>
        </pc:cxnChg>
        <pc:cxnChg chg="add del mod">
          <ac:chgData name="Frederick King" userId="bb732f183fe92d5e" providerId="LiveId" clId="{753283EB-EBC0-413C-B840-BF1DF8182372}" dt="2021-03-29T13:52:37.148" v="1012" actId="478"/>
          <ac:cxnSpMkLst>
            <pc:docMk/>
            <pc:sldMk cId="3966649577" sldId="289"/>
            <ac:cxnSpMk id="35" creationId="{DC756E25-B1F5-46E3-870F-DFB9467AA786}"/>
          </ac:cxnSpMkLst>
        </pc:cxnChg>
        <pc:cxnChg chg="add del mod">
          <ac:chgData name="Frederick King" userId="bb732f183fe92d5e" providerId="LiveId" clId="{753283EB-EBC0-413C-B840-BF1DF8182372}" dt="2021-03-29T13:52:31.796" v="1011" actId="478"/>
          <ac:cxnSpMkLst>
            <pc:docMk/>
            <pc:sldMk cId="3966649577" sldId="289"/>
            <ac:cxnSpMk id="37" creationId="{6E1E2EB7-ADD9-4ED6-9904-FE559BE5EA4C}"/>
          </ac:cxnSpMkLst>
        </pc:cxnChg>
      </pc:sldChg>
      <pc:sldChg chg="addSp delSp modSp add mod">
        <pc:chgData name="Frederick King" userId="bb732f183fe92d5e" providerId="LiveId" clId="{753283EB-EBC0-413C-B840-BF1DF8182372}" dt="2021-04-20T11:50:44.762" v="21346" actId="478"/>
        <pc:sldMkLst>
          <pc:docMk/>
          <pc:sldMk cId="3603287345" sldId="290"/>
        </pc:sldMkLst>
        <pc:spChg chg="mod ord">
          <ac:chgData name="Frederick King" userId="bb732f183fe92d5e" providerId="LiveId" clId="{753283EB-EBC0-413C-B840-BF1DF8182372}" dt="2021-03-31T08:58:39.069" v="17864"/>
          <ac:spMkLst>
            <pc:docMk/>
            <pc:sldMk cId="3603287345" sldId="290"/>
            <ac:spMk id="2" creationId="{294BDE24-F7BA-44EF-8B87-377957F26EE4}"/>
          </ac:spMkLst>
        </pc:spChg>
        <pc:spChg chg="add del mod modVis">
          <ac:chgData name="Frederick King" userId="bb732f183fe92d5e" providerId="LiveId" clId="{753283EB-EBC0-413C-B840-BF1DF8182372}" dt="2021-03-31T08:50:21.249" v="17346"/>
          <ac:spMkLst>
            <pc:docMk/>
            <pc:sldMk cId="3603287345" sldId="290"/>
            <ac:spMk id="3" creationId="{B992ED95-198A-4240-BDCF-755E3845272E}"/>
          </ac:spMkLst>
        </pc:spChg>
        <pc:spChg chg="add del mod">
          <ac:chgData name="Frederick King" userId="bb732f183fe92d5e" providerId="LiveId" clId="{753283EB-EBC0-413C-B840-BF1DF8182372}" dt="2021-04-20T11:50:44.762" v="21346" actId="478"/>
          <ac:spMkLst>
            <pc:docMk/>
            <pc:sldMk cId="3603287345" sldId="290"/>
            <ac:spMk id="4" creationId="{4663386D-3BAA-44BC-A0A4-E1630CDA5A23}"/>
          </ac:spMkLst>
        </pc:spChg>
        <pc:spChg chg="add del mod modVis">
          <ac:chgData name="Frederick King" userId="bb732f183fe92d5e" providerId="LiveId" clId="{753283EB-EBC0-413C-B840-BF1DF8182372}" dt="2021-03-31T08:50:23.998" v="17402"/>
          <ac:spMkLst>
            <pc:docMk/>
            <pc:sldMk cId="3603287345" sldId="290"/>
            <ac:spMk id="4" creationId="{5A6E9D8F-D750-4CF8-BDE7-40F06DE82D42}"/>
          </ac:spMkLst>
        </pc:spChg>
        <pc:spChg chg="del">
          <ac:chgData name="Frederick King" userId="bb732f183fe92d5e" providerId="LiveId" clId="{753283EB-EBC0-413C-B840-BF1DF8182372}" dt="2021-03-31T08:50:12.737" v="17280" actId="478"/>
          <ac:spMkLst>
            <pc:docMk/>
            <pc:sldMk cId="3603287345" sldId="290"/>
            <ac:spMk id="11" creationId="{FFDF53E5-240B-4BBD-A18D-68BEA114263F}"/>
          </ac:spMkLst>
        </pc:spChg>
        <pc:spChg chg="del">
          <ac:chgData name="Frederick King" userId="bb732f183fe92d5e" providerId="LiveId" clId="{753283EB-EBC0-413C-B840-BF1DF8182372}" dt="2021-03-31T08:50:12.737" v="17280" actId="478"/>
          <ac:spMkLst>
            <pc:docMk/>
            <pc:sldMk cId="3603287345" sldId="290"/>
            <ac:spMk id="12" creationId="{3E9568C4-2F73-431F-BCA3-7F21F3E917A5}"/>
          </ac:spMkLst>
        </pc:spChg>
        <pc:spChg chg="del">
          <ac:chgData name="Frederick King" userId="bb732f183fe92d5e" providerId="LiveId" clId="{753283EB-EBC0-413C-B840-BF1DF8182372}" dt="2021-03-31T08:50:12.737" v="17280" actId="478"/>
          <ac:spMkLst>
            <pc:docMk/>
            <pc:sldMk cId="3603287345" sldId="290"/>
            <ac:spMk id="13" creationId="{6B73DDB1-2066-4A3A-95F1-DABE0D56E66D}"/>
          </ac:spMkLst>
        </pc:spChg>
        <pc:spChg chg="del">
          <ac:chgData name="Frederick King" userId="bb732f183fe92d5e" providerId="LiveId" clId="{753283EB-EBC0-413C-B840-BF1DF8182372}" dt="2021-03-31T08:50:12.737" v="17280" actId="478"/>
          <ac:spMkLst>
            <pc:docMk/>
            <pc:sldMk cId="3603287345" sldId="290"/>
            <ac:spMk id="14" creationId="{CC7F3408-1F0D-4332-A29F-21E0FBFC00CC}"/>
          </ac:spMkLst>
        </pc:spChg>
        <pc:spChg chg="del">
          <ac:chgData name="Frederick King" userId="bb732f183fe92d5e" providerId="LiveId" clId="{753283EB-EBC0-413C-B840-BF1DF8182372}" dt="2021-03-31T08:50:12.737" v="17280" actId="478"/>
          <ac:spMkLst>
            <pc:docMk/>
            <pc:sldMk cId="3603287345" sldId="290"/>
            <ac:spMk id="15" creationId="{5E240199-E68D-46CE-A2FB-3A60E32A3E72}"/>
          </ac:spMkLst>
        </pc:spChg>
        <pc:spChg chg="del">
          <ac:chgData name="Frederick King" userId="bb732f183fe92d5e" providerId="LiveId" clId="{753283EB-EBC0-413C-B840-BF1DF8182372}" dt="2021-03-31T08:50:12.737" v="17280" actId="478"/>
          <ac:spMkLst>
            <pc:docMk/>
            <pc:sldMk cId="3603287345" sldId="290"/>
            <ac:spMk id="23" creationId="{B06E75AC-6E6E-4B9F-849A-4F8422C00627}"/>
          </ac:spMkLst>
        </pc:spChg>
        <pc:spChg chg="del">
          <ac:chgData name="Frederick King" userId="bb732f183fe92d5e" providerId="LiveId" clId="{753283EB-EBC0-413C-B840-BF1DF8182372}" dt="2021-03-31T08:50:12.737" v="17280" actId="478"/>
          <ac:spMkLst>
            <pc:docMk/>
            <pc:sldMk cId="3603287345" sldId="290"/>
            <ac:spMk id="24" creationId="{133E0348-3C9C-4A18-98A3-EDA16E4149FA}"/>
          </ac:spMkLst>
        </pc:spChg>
        <pc:spChg chg="del">
          <ac:chgData name="Frederick King" userId="bb732f183fe92d5e" providerId="LiveId" clId="{753283EB-EBC0-413C-B840-BF1DF8182372}" dt="2021-03-31T08:50:12.737" v="17280" actId="478"/>
          <ac:spMkLst>
            <pc:docMk/>
            <pc:sldMk cId="3603287345" sldId="290"/>
            <ac:spMk id="25" creationId="{91446B96-94A7-4D02-930C-E0C259D5B228}"/>
          </ac:spMkLst>
        </pc:spChg>
        <pc:spChg chg="del">
          <ac:chgData name="Frederick King" userId="bb732f183fe92d5e" providerId="LiveId" clId="{753283EB-EBC0-413C-B840-BF1DF8182372}" dt="2021-03-31T08:50:12.737" v="17280" actId="478"/>
          <ac:spMkLst>
            <pc:docMk/>
            <pc:sldMk cId="3603287345" sldId="290"/>
            <ac:spMk id="26" creationId="{17EFD8FB-7576-4007-8585-B1B95444D882}"/>
          </ac:spMkLst>
        </pc:spChg>
        <pc:spChg chg="del">
          <ac:chgData name="Frederick King" userId="bb732f183fe92d5e" providerId="LiveId" clId="{753283EB-EBC0-413C-B840-BF1DF8182372}" dt="2021-03-31T08:50:12.737" v="17280" actId="478"/>
          <ac:spMkLst>
            <pc:docMk/>
            <pc:sldMk cId="3603287345" sldId="290"/>
            <ac:spMk id="27" creationId="{1C647731-A1FC-47C8-9927-B5ECF6D22EA8}"/>
          </ac:spMkLst>
        </pc:spChg>
        <pc:spChg chg="del">
          <ac:chgData name="Frederick King" userId="bb732f183fe92d5e" providerId="LiveId" clId="{753283EB-EBC0-413C-B840-BF1DF8182372}" dt="2021-03-31T08:50:12.737" v="17280" actId="478"/>
          <ac:spMkLst>
            <pc:docMk/>
            <pc:sldMk cId="3603287345" sldId="290"/>
            <ac:spMk id="29" creationId="{634CF29F-DF29-4B18-887A-8D2AA002A02E}"/>
          </ac:spMkLst>
        </pc:spChg>
        <pc:spChg chg="del">
          <ac:chgData name="Frederick King" userId="bb732f183fe92d5e" providerId="LiveId" clId="{753283EB-EBC0-413C-B840-BF1DF8182372}" dt="2021-03-31T08:50:12.737" v="17280" actId="478"/>
          <ac:spMkLst>
            <pc:docMk/>
            <pc:sldMk cId="3603287345" sldId="290"/>
            <ac:spMk id="30" creationId="{749CC772-1CE3-4426-A136-8BCE6E6E4CD4}"/>
          </ac:spMkLst>
        </pc:spChg>
        <pc:spChg chg="del">
          <ac:chgData name="Frederick King" userId="bb732f183fe92d5e" providerId="LiveId" clId="{753283EB-EBC0-413C-B840-BF1DF8182372}" dt="2021-03-31T08:50:12.737" v="17280" actId="478"/>
          <ac:spMkLst>
            <pc:docMk/>
            <pc:sldMk cId="3603287345" sldId="290"/>
            <ac:spMk id="31" creationId="{689473DE-0C40-4D4F-9E70-AF73EB78813B}"/>
          </ac:spMkLst>
        </pc:spChg>
        <pc:spChg chg="del">
          <ac:chgData name="Frederick King" userId="bb732f183fe92d5e" providerId="LiveId" clId="{753283EB-EBC0-413C-B840-BF1DF8182372}" dt="2021-03-31T08:50:12.737" v="17280" actId="478"/>
          <ac:spMkLst>
            <pc:docMk/>
            <pc:sldMk cId="3603287345" sldId="290"/>
            <ac:spMk id="32" creationId="{D0FCD157-68D3-498D-82A9-5F37549A361B}"/>
          </ac:spMkLst>
        </pc:spChg>
        <pc:spChg chg="del">
          <ac:chgData name="Frederick King" userId="bb732f183fe92d5e" providerId="LiveId" clId="{753283EB-EBC0-413C-B840-BF1DF8182372}" dt="2021-03-31T08:50:12.737" v="17280" actId="478"/>
          <ac:spMkLst>
            <pc:docMk/>
            <pc:sldMk cId="3603287345" sldId="290"/>
            <ac:spMk id="33" creationId="{95ACF374-ADAD-455F-AD13-EBE66FD9AA76}"/>
          </ac:spMkLst>
        </pc:spChg>
        <pc:spChg chg="del">
          <ac:chgData name="Frederick King" userId="bb732f183fe92d5e" providerId="LiveId" clId="{753283EB-EBC0-413C-B840-BF1DF8182372}" dt="2021-03-31T08:50:12.737" v="17280" actId="478"/>
          <ac:spMkLst>
            <pc:docMk/>
            <pc:sldMk cId="3603287345" sldId="290"/>
            <ac:spMk id="37" creationId="{5A185F24-26A4-412E-B5BD-C0E815437B80}"/>
          </ac:spMkLst>
        </pc:spChg>
        <pc:spChg chg="del">
          <ac:chgData name="Frederick King" userId="bb732f183fe92d5e" providerId="LiveId" clId="{753283EB-EBC0-413C-B840-BF1DF8182372}" dt="2021-03-31T08:50:12.737" v="17280" actId="478"/>
          <ac:spMkLst>
            <pc:docMk/>
            <pc:sldMk cId="3603287345" sldId="290"/>
            <ac:spMk id="39" creationId="{100895F7-35D4-42A3-BA8D-1E0FCBC79D12}"/>
          </ac:spMkLst>
        </pc:spChg>
        <pc:spChg chg="del">
          <ac:chgData name="Frederick King" userId="bb732f183fe92d5e" providerId="LiveId" clId="{753283EB-EBC0-413C-B840-BF1DF8182372}" dt="2021-03-31T08:50:12.737" v="17280" actId="478"/>
          <ac:spMkLst>
            <pc:docMk/>
            <pc:sldMk cId="3603287345" sldId="290"/>
            <ac:spMk id="41" creationId="{187B131B-17BD-4DFF-A9BD-C7156E18A12D}"/>
          </ac:spMkLst>
        </pc:spChg>
        <pc:spChg chg="del">
          <ac:chgData name="Frederick King" userId="bb732f183fe92d5e" providerId="LiveId" clId="{753283EB-EBC0-413C-B840-BF1DF8182372}" dt="2021-03-31T08:50:12.737" v="17280" actId="478"/>
          <ac:spMkLst>
            <pc:docMk/>
            <pc:sldMk cId="3603287345" sldId="290"/>
            <ac:spMk id="43" creationId="{2888DE59-C99E-4C31-98A2-C4033D1988E7}"/>
          </ac:spMkLst>
        </pc:spChg>
        <pc:spChg chg="del">
          <ac:chgData name="Frederick King" userId="bb732f183fe92d5e" providerId="LiveId" clId="{753283EB-EBC0-413C-B840-BF1DF8182372}" dt="2021-03-31T08:50:12.737" v="17280" actId="478"/>
          <ac:spMkLst>
            <pc:docMk/>
            <pc:sldMk cId="3603287345" sldId="290"/>
            <ac:spMk id="44" creationId="{1704750D-AE15-427C-9A77-C4CF3C47F9AB}"/>
          </ac:spMkLst>
        </pc:spChg>
        <pc:spChg chg="mod ord">
          <ac:chgData name="Frederick King" userId="bb732f183fe92d5e" providerId="LiveId" clId="{753283EB-EBC0-413C-B840-BF1DF8182372}" dt="2021-03-31T08:58:39.069" v="17866"/>
          <ac:spMkLst>
            <pc:docMk/>
            <pc:sldMk cId="3603287345" sldId="290"/>
            <ac:spMk id="49" creationId="{0FB76FBD-4E7C-45D7-8741-1902748D0BCC}"/>
          </ac:spMkLst>
        </pc:spChg>
        <pc:spChg chg="mod ord">
          <ac:chgData name="Frederick King" userId="bb732f183fe92d5e" providerId="LiveId" clId="{753283EB-EBC0-413C-B840-BF1DF8182372}" dt="2021-03-31T08:58:39.069" v="17868"/>
          <ac:spMkLst>
            <pc:docMk/>
            <pc:sldMk cId="3603287345" sldId="290"/>
            <ac:spMk id="51" creationId="{5D0FE15E-1E4D-49CF-BFA0-2C4D4D3CB3E6}"/>
          </ac:spMkLst>
        </pc:spChg>
        <pc:spChg chg="add mod">
          <ac:chgData name="Frederick King" userId="bb732f183fe92d5e" providerId="LiveId" clId="{753283EB-EBC0-413C-B840-BF1DF8182372}" dt="2021-03-31T08:57:56.453" v="17846" actId="164"/>
          <ac:spMkLst>
            <pc:docMk/>
            <pc:sldMk cId="3603287345" sldId="290"/>
            <ac:spMk id="52" creationId="{9D03F55D-4806-4A4C-82FD-3A70E4354119}"/>
          </ac:spMkLst>
        </pc:spChg>
        <pc:spChg chg="mod">
          <ac:chgData name="Frederick King" userId="bb732f183fe92d5e" providerId="LiveId" clId="{753283EB-EBC0-413C-B840-BF1DF8182372}" dt="2021-03-31T08:54:52.298" v="17479" actId="790"/>
          <ac:spMkLst>
            <pc:docMk/>
            <pc:sldMk cId="3603287345" sldId="290"/>
            <ac:spMk id="54" creationId="{97BDDE41-BC1D-4BB5-AA5A-AD2CBA0D964B}"/>
          </ac:spMkLst>
        </pc:spChg>
        <pc:spChg chg="mod">
          <ac:chgData name="Frederick King" userId="bb732f183fe92d5e" providerId="LiveId" clId="{753283EB-EBC0-413C-B840-BF1DF8182372}" dt="2021-03-31T08:54:52.298" v="17479" actId="790"/>
          <ac:spMkLst>
            <pc:docMk/>
            <pc:sldMk cId="3603287345" sldId="290"/>
            <ac:spMk id="55" creationId="{4A06C903-80F6-45FD-A74B-30B3575DF3FD}"/>
          </ac:spMkLst>
        </pc:spChg>
        <pc:spChg chg="add mod">
          <ac:chgData name="Frederick King" userId="bb732f183fe92d5e" providerId="LiveId" clId="{753283EB-EBC0-413C-B840-BF1DF8182372}" dt="2021-03-31T08:57:59.759" v="17848" actId="164"/>
          <ac:spMkLst>
            <pc:docMk/>
            <pc:sldMk cId="3603287345" sldId="290"/>
            <ac:spMk id="56" creationId="{7178F4A8-D3AE-4EF8-832D-F5394F4A1611}"/>
          </ac:spMkLst>
        </pc:spChg>
        <pc:spChg chg="add mod">
          <ac:chgData name="Frederick King" userId="bb732f183fe92d5e" providerId="LiveId" clId="{753283EB-EBC0-413C-B840-BF1DF8182372}" dt="2021-03-31T08:58:11.137" v="17853" actId="164"/>
          <ac:spMkLst>
            <pc:docMk/>
            <pc:sldMk cId="3603287345" sldId="290"/>
            <ac:spMk id="57" creationId="{75BA473F-BFDC-4D38-965B-C585CF19C28E}"/>
          </ac:spMkLst>
        </pc:spChg>
        <pc:spChg chg="mod">
          <ac:chgData name="Frederick King" userId="bb732f183fe92d5e" providerId="LiveId" clId="{753283EB-EBC0-413C-B840-BF1DF8182372}" dt="2021-03-31T08:54:52.298" v="17479" actId="790"/>
          <ac:spMkLst>
            <pc:docMk/>
            <pc:sldMk cId="3603287345" sldId="290"/>
            <ac:spMk id="60" creationId="{501044BA-A443-470D-978F-B2EFD2D1248C}"/>
          </ac:spMkLst>
        </pc:spChg>
        <pc:spChg chg="del">
          <ac:chgData name="Frederick King" userId="bb732f183fe92d5e" providerId="LiveId" clId="{753283EB-EBC0-413C-B840-BF1DF8182372}" dt="2021-03-31T08:50:12.737" v="17280" actId="478"/>
          <ac:spMkLst>
            <pc:docMk/>
            <pc:sldMk cId="3603287345" sldId="290"/>
            <ac:spMk id="62" creationId="{ADAC8C19-5852-44E9-8208-B4AD64521505}"/>
          </ac:spMkLst>
        </pc:spChg>
        <pc:spChg chg="del">
          <ac:chgData name="Frederick King" userId="bb732f183fe92d5e" providerId="LiveId" clId="{753283EB-EBC0-413C-B840-BF1DF8182372}" dt="2021-03-31T08:50:12.737" v="17280" actId="478"/>
          <ac:spMkLst>
            <pc:docMk/>
            <pc:sldMk cId="3603287345" sldId="290"/>
            <ac:spMk id="64" creationId="{7F789656-93BF-4372-A78E-51092AC1F313}"/>
          </ac:spMkLst>
        </pc:spChg>
        <pc:spChg chg="del">
          <ac:chgData name="Frederick King" userId="bb732f183fe92d5e" providerId="LiveId" clId="{753283EB-EBC0-413C-B840-BF1DF8182372}" dt="2021-03-31T08:50:12.737" v="17280" actId="478"/>
          <ac:spMkLst>
            <pc:docMk/>
            <pc:sldMk cId="3603287345" sldId="290"/>
            <ac:spMk id="65" creationId="{11DFD74B-B28E-42D7-9CF8-F3A1B4C19EDC}"/>
          </ac:spMkLst>
        </pc:spChg>
        <pc:spChg chg="del">
          <ac:chgData name="Frederick King" userId="bb732f183fe92d5e" providerId="LiveId" clId="{753283EB-EBC0-413C-B840-BF1DF8182372}" dt="2021-03-31T08:50:12.737" v="17280" actId="478"/>
          <ac:spMkLst>
            <pc:docMk/>
            <pc:sldMk cId="3603287345" sldId="290"/>
            <ac:spMk id="67" creationId="{2B990967-DF2E-4E70-BB61-060D611528E0}"/>
          </ac:spMkLst>
        </pc:spChg>
        <pc:spChg chg="mod">
          <ac:chgData name="Frederick King" userId="bb732f183fe92d5e" providerId="LiveId" clId="{753283EB-EBC0-413C-B840-BF1DF8182372}" dt="2021-03-31T08:54:52.298" v="17479" actId="790"/>
          <ac:spMkLst>
            <pc:docMk/>
            <pc:sldMk cId="3603287345" sldId="290"/>
            <ac:spMk id="68" creationId="{3DBE97E0-8F28-461E-BA14-F940B502C557}"/>
          </ac:spMkLst>
        </pc:spChg>
        <pc:spChg chg="mod">
          <ac:chgData name="Frederick King" userId="bb732f183fe92d5e" providerId="LiveId" clId="{753283EB-EBC0-413C-B840-BF1DF8182372}" dt="2021-03-31T08:58:06.795" v="17851" actId="164"/>
          <ac:spMkLst>
            <pc:docMk/>
            <pc:sldMk cId="3603287345" sldId="290"/>
            <ac:spMk id="70" creationId="{0366B0D8-1910-412A-9AE3-69EDAFEFF3C5}"/>
          </ac:spMkLst>
        </pc:spChg>
        <pc:spChg chg="mod">
          <ac:chgData name="Frederick King" userId="bb732f183fe92d5e" providerId="LiveId" clId="{753283EB-EBC0-413C-B840-BF1DF8182372}" dt="2021-03-31T08:58:06.795" v="17851" actId="164"/>
          <ac:spMkLst>
            <pc:docMk/>
            <pc:sldMk cId="3603287345" sldId="290"/>
            <ac:spMk id="71" creationId="{994F6334-E584-4AF9-91E6-C7DC5214AA58}"/>
          </ac:spMkLst>
        </pc:spChg>
        <pc:spChg chg="add mod topLvl">
          <ac:chgData name="Frederick King" userId="bb732f183fe92d5e" providerId="LiveId" clId="{753283EB-EBC0-413C-B840-BF1DF8182372}" dt="2021-03-31T08:58:15.803" v="17855" actId="164"/>
          <ac:spMkLst>
            <pc:docMk/>
            <pc:sldMk cId="3603287345" sldId="290"/>
            <ac:spMk id="72" creationId="{9F75C271-FF6E-411E-817D-819F5B61D39F}"/>
          </ac:spMkLst>
        </pc:spChg>
        <pc:spChg chg="mod">
          <ac:chgData name="Frederick King" userId="bb732f183fe92d5e" providerId="LiveId" clId="{753283EB-EBC0-413C-B840-BF1DF8182372}" dt="2021-03-31T08:57:33.782" v="17818" actId="165"/>
          <ac:spMkLst>
            <pc:docMk/>
            <pc:sldMk cId="3603287345" sldId="290"/>
            <ac:spMk id="74" creationId="{8A5816BD-5415-45A1-AB83-4D3542E09BDC}"/>
          </ac:spMkLst>
        </pc:spChg>
        <pc:spChg chg="mod">
          <ac:chgData name="Frederick King" userId="bb732f183fe92d5e" providerId="LiveId" clId="{753283EB-EBC0-413C-B840-BF1DF8182372}" dt="2021-03-31T08:57:33.782" v="17818" actId="165"/>
          <ac:spMkLst>
            <pc:docMk/>
            <pc:sldMk cId="3603287345" sldId="290"/>
            <ac:spMk id="75" creationId="{CF881C96-C6D6-4246-B467-2577ED7835A1}"/>
          </ac:spMkLst>
        </pc:spChg>
        <pc:spChg chg="add mod">
          <ac:chgData name="Frederick King" userId="bb732f183fe92d5e" providerId="LiveId" clId="{753283EB-EBC0-413C-B840-BF1DF8182372}" dt="2021-03-31T09:01:36.082" v="18056" actId="20577"/>
          <ac:spMkLst>
            <pc:docMk/>
            <pc:sldMk cId="3603287345" sldId="290"/>
            <ac:spMk id="76" creationId="{236AA4E7-1B9F-4A4D-A7FF-BE9C19F12A5B}"/>
          </ac:spMkLst>
        </pc:spChg>
        <pc:spChg chg="add mod">
          <ac:chgData name="Frederick King" userId="bb732f183fe92d5e" providerId="LiveId" clId="{753283EB-EBC0-413C-B840-BF1DF8182372}" dt="2021-03-31T09:01:20.929" v="18004" actId="20577"/>
          <ac:spMkLst>
            <pc:docMk/>
            <pc:sldMk cId="3603287345" sldId="290"/>
            <ac:spMk id="77" creationId="{9A26EC26-CD8E-48A4-BF96-69583F3766E8}"/>
          </ac:spMkLst>
        </pc:spChg>
        <pc:spChg chg="add mod">
          <ac:chgData name="Frederick King" userId="bb732f183fe92d5e" providerId="LiveId" clId="{753283EB-EBC0-413C-B840-BF1DF8182372}" dt="2021-03-31T08:59:13.657" v="17917" actId="20577"/>
          <ac:spMkLst>
            <pc:docMk/>
            <pc:sldMk cId="3603287345" sldId="290"/>
            <ac:spMk id="78" creationId="{C3F0A01C-233B-4541-B642-A94A04F9AECB}"/>
          </ac:spMkLst>
        </pc:spChg>
        <pc:spChg chg="add mod topLvl">
          <ac:chgData name="Frederick King" userId="bb732f183fe92d5e" providerId="LiveId" clId="{753283EB-EBC0-413C-B840-BF1DF8182372}" dt="2021-03-31T08:59:23.147" v="17954" actId="20577"/>
          <ac:spMkLst>
            <pc:docMk/>
            <pc:sldMk cId="3603287345" sldId="290"/>
            <ac:spMk id="79" creationId="{E846A103-93DE-496A-8515-925611D77995}"/>
          </ac:spMkLst>
        </pc:spChg>
        <pc:grpChg chg="add del mod">
          <ac:chgData name="Frederick King" userId="bb732f183fe92d5e" providerId="LiveId" clId="{753283EB-EBC0-413C-B840-BF1DF8182372}" dt="2021-03-31T08:57:33.782" v="17818" actId="165"/>
          <ac:grpSpMkLst>
            <pc:docMk/>
            <pc:sldMk cId="3603287345" sldId="290"/>
            <ac:grpSpMk id="16" creationId="{0B31BA75-0EF2-4FFC-8D54-FE4D6F07C33B}"/>
          </ac:grpSpMkLst>
        </pc:grpChg>
        <pc:grpChg chg="add mod ord">
          <ac:chgData name="Frederick King" userId="bb732f183fe92d5e" providerId="LiveId" clId="{753283EB-EBC0-413C-B840-BF1DF8182372}" dt="2021-03-31T08:59:26.988" v="17955" actId="164"/>
          <ac:grpSpMkLst>
            <pc:docMk/>
            <pc:sldMk cId="3603287345" sldId="290"/>
            <ac:grpSpMk id="22" creationId="{9A7CB383-721C-4D2E-9FEF-756F78A749D9}"/>
          </ac:grpSpMkLst>
        </pc:grpChg>
        <pc:grpChg chg="add mod ord">
          <ac:chgData name="Frederick King" userId="bb732f183fe92d5e" providerId="LiveId" clId="{753283EB-EBC0-413C-B840-BF1DF8182372}" dt="2021-03-31T08:59:26.988" v="17955" actId="164"/>
          <ac:grpSpMkLst>
            <pc:docMk/>
            <pc:sldMk cId="3603287345" sldId="290"/>
            <ac:grpSpMk id="28" creationId="{260105B9-3FEF-4AFE-8EA0-2B248F038662}"/>
          </ac:grpSpMkLst>
        </pc:grpChg>
        <pc:grpChg chg="add mod">
          <ac:chgData name="Frederick King" userId="bb732f183fe92d5e" providerId="LiveId" clId="{753283EB-EBC0-413C-B840-BF1DF8182372}" dt="2021-03-31T08:58:06.795" v="17851" actId="164"/>
          <ac:grpSpMkLst>
            <pc:docMk/>
            <pc:sldMk cId="3603287345" sldId="290"/>
            <ac:grpSpMk id="34" creationId="{963A37C0-722A-4684-B1AC-5B56FD8A2F7D}"/>
          </ac:grpSpMkLst>
        </pc:grpChg>
        <pc:grpChg chg="add mod ord">
          <ac:chgData name="Frederick King" userId="bb732f183fe92d5e" providerId="LiveId" clId="{753283EB-EBC0-413C-B840-BF1DF8182372}" dt="2021-03-31T08:59:26.988" v="17955" actId="164"/>
          <ac:grpSpMkLst>
            <pc:docMk/>
            <pc:sldMk cId="3603287345" sldId="290"/>
            <ac:grpSpMk id="45" creationId="{CE4E30BA-564C-41A2-A1E7-EC0A6B10390A}"/>
          </ac:grpSpMkLst>
        </pc:grpChg>
        <pc:grpChg chg="add mod ord">
          <ac:chgData name="Frederick King" userId="bb732f183fe92d5e" providerId="LiveId" clId="{753283EB-EBC0-413C-B840-BF1DF8182372}" dt="2021-03-31T08:59:26.988" v="17955" actId="164"/>
          <ac:grpSpMkLst>
            <pc:docMk/>
            <pc:sldMk cId="3603287345" sldId="290"/>
            <ac:grpSpMk id="46" creationId="{A98E9597-EB92-41FB-919C-D46432A5D106}"/>
          </ac:grpSpMkLst>
        </pc:grpChg>
        <pc:grpChg chg="add mod">
          <ac:chgData name="Frederick King" userId="bb732f183fe92d5e" providerId="LiveId" clId="{753283EB-EBC0-413C-B840-BF1DF8182372}" dt="2021-03-31T08:57:56.453" v="17846" actId="164"/>
          <ac:grpSpMkLst>
            <pc:docMk/>
            <pc:sldMk cId="3603287345" sldId="290"/>
            <ac:grpSpMk id="53" creationId="{B57F4755-A546-4A6C-B0D4-0B5C217B3BF0}"/>
          </ac:grpSpMkLst>
        </pc:grpChg>
        <pc:grpChg chg="add mod">
          <ac:chgData name="Frederick King" userId="bb732f183fe92d5e" providerId="LiveId" clId="{753283EB-EBC0-413C-B840-BF1DF8182372}" dt="2021-03-31T08:57:59.759" v="17848" actId="164"/>
          <ac:grpSpMkLst>
            <pc:docMk/>
            <pc:sldMk cId="3603287345" sldId="290"/>
            <ac:grpSpMk id="58" creationId="{47DDBD6B-0581-441A-9067-2621B544B446}"/>
          </ac:grpSpMkLst>
        </pc:grpChg>
        <pc:grpChg chg="add mod">
          <ac:chgData name="Frederick King" userId="bb732f183fe92d5e" providerId="LiveId" clId="{753283EB-EBC0-413C-B840-BF1DF8182372}" dt="2021-03-31T08:58:11.137" v="17853" actId="164"/>
          <ac:grpSpMkLst>
            <pc:docMk/>
            <pc:sldMk cId="3603287345" sldId="290"/>
            <ac:grpSpMk id="69" creationId="{1308AACA-6BD5-45AE-A6B5-0F3A1D76AEDA}"/>
          </ac:grpSpMkLst>
        </pc:grpChg>
        <pc:grpChg chg="add mod topLvl">
          <ac:chgData name="Frederick King" userId="bb732f183fe92d5e" providerId="LiveId" clId="{753283EB-EBC0-413C-B840-BF1DF8182372}" dt="2021-03-31T08:58:15.803" v="17855" actId="164"/>
          <ac:grpSpMkLst>
            <pc:docMk/>
            <pc:sldMk cId="3603287345" sldId="290"/>
            <ac:grpSpMk id="73" creationId="{80442C41-342D-4D72-8138-AA5086FBC075}"/>
          </ac:grpSpMkLst>
        </pc:grpChg>
        <pc:grpChg chg="add mod">
          <ac:chgData name="Frederick King" userId="bb732f183fe92d5e" providerId="LiveId" clId="{753283EB-EBC0-413C-B840-BF1DF8182372}" dt="2021-03-31T08:59:28.601" v="17956" actId="12788"/>
          <ac:grpSpMkLst>
            <pc:docMk/>
            <pc:sldMk cId="3603287345" sldId="290"/>
            <ac:grpSpMk id="80" creationId="{BE868596-D53B-4DA1-AC3F-72C83B9C819A}"/>
          </ac:grpSpMkLst>
        </pc:grpChg>
        <pc:graphicFrameChg chg="mod ord">
          <ac:chgData name="Frederick King" userId="bb732f183fe92d5e" providerId="LiveId" clId="{753283EB-EBC0-413C-B840-BF1DF8182372}" dt="2021-03-31T08:58:39.069" v="17878"/>
          <ac:graphicFrameMkLst>
            <pc:docMk/>
            <pc:sldMk cId="3603287345" sldId="290"/>
            <ac:graphicFrameMk id="59" creationId="{60528071-3734-46B2-8DCF-360C1F77A786}"/>
          </ac:graphicFrameMkLst>
        </pc:graphicFrameChg>
        <pc:cxnChg chg="add del mod">
          <ac:chgData name="Frederick King" userId="bb732f183fe92d5e" providerId="LiveId" clId="{753283EB-EBC0-413C-B840-BF1DF8182372}" dt="2021-04-20T11:48:11.032" v="21298"/>
          <ac:cxnSpMkLst>
            <pc:docMk/>
            <pc:sldMk cId="3603287345" sldId="290"/>
            <ac:cxnSpMk id="3" creationId="{AA309E1D-E6D2-45F1-81CD-6B3BECE4F2BA}"/>
          </ac:cxnSpMkLst>
        </pc:cxnChg>
        <pc:cxnChg chg="del">
          <ac:chgData name="Frederick King" userId="bb732f183fe92d5e" providerId="LiveId" clId="{753283EB-EBC0-413C-B840-BF1DF8182372}" dt="2021-03-31T08:50:12.737" v="17280" actId="478"/>
          <ac:cxnSpMkLst>
            <pc:docMk/>
            <pc:sldMk cId="3603287345" sldId="290"/>
            <ac:cxnSpMk id="5" creationId="{24810186-5EB5-4EC5-B90A-1F723244C188}"/>
          </ac:cxnSpMkLst>
        </pc:cxnChg>
        <pc:cxnChg chg="del">
          <ac:chgData name="Frederick King" userId="bb732f183fe92d5e" providerId="LiveId" clId="{753283EB-EBC0-413C-B840-BF1DF8182372}" dt="2021-03-31T08:50:12.737" v="17280" actId="478"/>
          <ac:cxnSpMkLst>
            <pc:docMk/>
            <pc:sldMk cId="3603287345" sldId="290"/>
            <ac:cxnSpMk id="6" creationId="{0E3FEF84-13CB-4831-BC45-0F3FC6CE4DE1}"/>
          </ac:cxnSpMkLst>
        </pc:cxnChg>
        <pc:cxnChg chg="del">
          <ac:chgData name="Frederick King" userId="bb732f183fe92d5e" providerId="LiveId" clId="{753283EB-EBC0-413C-B840-BF1DF8182372}" dt="2021-03-31T08:50:12.737" v="17280" actId="478"/>
          <ac:cxnSpMkLst>
            <pc:docMk/>
            <pc:sldMk cId="3603287345" sldId="290"/>
            <ac:cxnSpMk id="7" creationId="{798EBC30-BE46-499B-8866-1D95CBA4AE54}"/>
          </ac:cxnSpMkLst>
        </pc:cxnChg>
        <pc:cxnChg chg="del">
          <ac:chgData name="Frederick King" userId="bb732f183fe92d5e" providerId="LiveId" clId="{753283EB-EBC0-413C-B840-BF1DF8182372}" dt="2021-03-31T08:50:12.737" v="17280" actId="478"/>
          <ac:cxnSpMkLst>
            <pc:docMk/>
            <pc:sldMk cId="3603287345" sldId="290"/>
            <ac:cxnSpMk id="8" creationId="{E502F8DC-3EB2-4B4D-A40D-7A8061320263}"/>
          </ac:cxnSpMkLst>
        </pc:cxnChg>
        <pc:cxnChg chg="del">
          <ac:chgData name="Frederick King" userId="bb732f183fe92d5e" providerId="LiveId" clId="{753283EB-EBC0-413C-B840-BF1DF8182372}" dt="2021-03-31T08:50:12.737" v="17280" actId="478"/>
          <ac:cxnSpMkLst>
            <pc:docMk/>
            <pc:sldMk cId="3603287345" sldId="290"/>
            <ac:cxnSpMk id="9" creationId="{0CE567DF-D429-4A22-B3F0-39AD8A95BE51}"/>
          </ac:cxnSpMkLst>
        </pc:cxnChg>
        <pc:cxnChg chg="del">
          <ac:chgData name="Frederick King" userId="bb732f183fe92d5e" providerId="LiveId" clId="{753283EB-EBC0-413C-B840-BF1DF8182372}" dt="2021-03-31T08:50:12.737" v="17280" actId="478"/>
          <ac:cxnSpMkLst>
            <pc:docMk/>
            <pc:sldMk cId="3603287345" sldId="290"/>
            <ac:cxnSpMk id="17" creationId="{28A0CB08-88D8-4B6E-AE0F-BC91F6DED8CD}"/>
          </ac:cxnSpMkLst>
        </pc:cxnChg>
        <pc:cxnChg chg="del">
          <ac:chgData name="Frederick King" userId="bb732f183fe92d5e" providerId="LiveId" clId="{753283EB-EBC0-413C-B840-BF1DF8182372}" dt="2021-03-31T08:50:12.737" v="17280" actId="478"/>
          <ac:cxnSpMkLst>
            <pc:docMk/>
            <pc:sldMk cId="3603287345" sldId="290"/>
            <ac:cxnSpMk id="18" creationId="{FEC01CF5-D336-474A-AC9D-27A406062D57}"/>
          </ac:cxnSpMkLst>
        </pc:cxnChg>
        <pc:cxnChg chg="del">
          <ac:chgData name="Frederick King" userId="bb732f183fe92d5e" providerId="LiveId" clId="{753283EB-EBC0-413C-B840-BF1DF8182372}" dt="2021-03-31T08:50:12.737" v="17280" actId="478"/>
          <ac:cxnSpMkLst>
            <pc:docMk/>
            <pc:sldMk cId="3603287345" sldId="290"/>
            <ac:cxnSpMk id="19" creationId="{AA210E3D-8601-4A15-A168-FFD512173806}"/>
          </ac:cxnSpMkLst>
        </pc:cxnChg>
        <pc:cxnChg chg="del">
          <ac:chgData name="Frederick King" userId="bb732f183fe92d5e" providerId="LiveId" clId="{753283EB-EBC0-413C-B840-BF1DF8182372}" dt="2021-03-31T08:50:12.737" v="17280" actId="478"/>
          <ac:cxnSpMkLst>
            <pc:docMk/>
            <pc:sldMk cId="3603287345" sldId="290"/>
            <ac:cxnSpMk id="20" creationId="{785DA103-C204-4CBF-B5A4-82F8333E1F03}"/>
          </ac:cxnSpMkLst>
        </pc:cxnChg>
        <pc:cxnChg chg="del">
          <ac:chgData name="Frederick King" userId="bb732f183fe92d5e" providerId="LiveId" clId="{753283EB-EBC0-413C-B840-BF1DF8182372}" dt="2021-03-31T08:50:12.737" v="17280" actId="478"/>
          <ac:cxnSpMkLst>
            <pc:docMk/>
            <pc:sldMk cId="3603287345" sldId="290"/>
            <ac:cxnSpMk id="21" creationId="{98471789-DD7A-4934-A3D4-9378910C20D3}"/>
          </ac:cxnSpMkLst>
        </pc:cxnChg>
        <pc:cxnChg chg="del">
          <ac:chgData name="Frederick King" userId="bb732f183fe92d5e" providerId="LiveId" clId="{753283EB-EBC0-413C-B840-BF1DF8182372}" dt="2021-03-31T08:50:12.737" v="17280" actId="478"/>
          <ac:cxnSpMkLst>
            <pc:docMk/>
            <pc:sldMk cId="3603287345" sldId="290"/>
            <ac:cxnSpMk id="35" creationId="{FA29661A-2C62-4E12-880B-E4CCE7F20216}"/>
          </ac:cxnSpMkLst>
        </pc:cxnChg>
        <pc:cxnChg chg="del">
          <ac:chgData name="Frederick King" userId="bb732f183fe92d5e" providerId="LiveId" clId="{753283EB-EBC0-413C-B840-BF1DF8182372}" dt="2021-03-31T08:50:12.737" v="17280" actId="478"/>
          <ac:cxnSpMkLst>
            <pc:docMk/>
            <pc:sldMk cId="3603287345" sldId="290"/>
            <ac:cxnSpMk id="36" creationId="{693D6269-4939-44E7-83B4-5054116F7F76}"/>
          </ac:cxnSpMkLst>
        </pc:cxnChg>
        <pc:cxnChg chg="del">
          <ac:chgData name="Frederick King" userId="bb732f183fe92d5e" providerId="LiveId" clId="{753283EB-EBC0-413C-B840-BF1DF8182372}" dt="2021-03-31T08:50:12.737" v="17280" actId="478"/>
          <ac:cxnSpMkLst>
            <pc:docMk/>
            <pc:sldMk cId="3603287345" sldId="290"/>
            <ac:cxnSpMk id="38" creationId="{2B06A78E-04C9-42D1-A96E-3B8F63482527}"/>
          </ac:cxnSpMkLst>
        </pc:cxnChg>
        <pc:cxnChg chg="del">
          <ac:chgData name="Frederick King" userId="bb732f183fe92d5e" providerId="LiveId" clId="{753283EB-EBC0-413C-B840-BF1DF8182372}" dt="2021-03-31T08:50:12.737" v="17280" actId="478"/>
          <ac:cxnSpMkLst>
            <pc:docMk/>
            <pc:sldMk cId="3603287345" sldId="290"/>
            <ac:cxnSpMk id="40" creationId="{55700AFF-6FCB-4E56-96D3-8FE42829FD01}"/>
          </ac:cxnSpMkLst>
        </pc:cxnChg>
        <pc:cxnChg chg="del">
          <ac:chgData name="Frederick King" userId="bb732f183fe92d5e" providerId="LiveId" clId="{753283EB-EBC0-413C-B840-BF1DF8182372}" dt="2021-03-31T08:50:12.737" v="17280" actId="478"/>
          <ac:cxnSpMkLst>
            <pc:docMk/>
            <pc:sldMk cId="3603287345" sldId="290"/>
            <ac:cxnSpMk id="42" creationId="{DDF335E4-E337-43A6-9997-DE015ED2F3CB}"/>
          </ac:cxnSpMkLst>
        </pc:cxnChg>
        <pc:cxnChg chg="add mod ord">
          <ac:chgData name="Frederick King" userId="bb732f183fe92d5e" providerId="LiveId" clId="{753283EB-EBC0-413C-B840-BF1DF8182372}" dt="2021-04-20T11:50:42.827" v="21345" actId="208"/>
          <ac:cxnSpMkLst>
            <pc:docMk/>
            <pc:sldMk cId="3603287345" sldId="290"/>
            <ac:cxnSpMk id="48" creationId="{5B6481B3-1B3F-4454-97BD-30BD09D7335A}"/>
          </ac:cxnSpMkLst>
        </pc:cxnChg>
        <pc:cxnChg chg="add del mod">
          <ac:chgData name="Frederick King" userId="bb732f183fe92d5e" providerId="LiveId" clId="{753283EB-EBC0-413C-B840-BF1DF8182372}" dt="2021-03-31T08:54:19.865" v="17413" actId="478"/>
          <ac:cxnSpMkLst>
            <pc:docMk/>
            <pc:sldMk cId="3603287345" sldId="290"/>
            <ac:cxnSpMk id="50" creationId="{554D5E31-167B-4F31-BC9F-07E207882192}"/>
          </ac:cxnSpMkLst>
        </pc:cxnChg>
        <pc:cxnChg chg="del">
          <ac:chgData name="Frederick King" userId="bb732f183fe92d5e" providerId="LiveId" clId="{753283EB-EBC0-413C-B840-BF1DF8182372}" dt="2021-03-31T08:50:12.737" v="17280" actId="478"/>
          <ac:cxnSpMkLst>
            <pc:docMk/>
            <pc:sldMk cId="3603287345" sldId="290"/>
            <ac:cxnSpMk id="61" creationId="{63D72001-80CE-428D-8ADA-334A04982E61}"/>
          </ac:cxnSpMkLst>
        </pc:cxnChg>
        <pc:cxnChg chg="del">
          <ac:chgData name="Frederick King" userId="bb732f183fe92d5e" providerId="LiveId" clId="{753283EB-EBC0-413C-B840-BF1DF8182372}" dt="2021-03-31T08:50:12.737" v="17280" actId="478"/>
          <ac:cxnSpMkLst>
            <pc:docMk/>
            <pc:sldMk cId="3603287345" sldId="290"/>
            <ac:cxnSpMk id="63" creationId="{813F859D-BB88-4A23-984A-84AFA94C2FAF}"/>
          </ac:cxnSpMkLst>
        </pc:cxnChg>
        <pc:cxnChg chg="del">
          <ac:chgData name="Frederick King" userId="bb732f183fe92d5e" providerId="LiveId" clId="{753283EB-EBC0-413C-B840-BF1DF8182372}" dt="2021-03-31T08:50:12.737" v="17280" actId="478"/>
          <ac:cxnSpMkLst>
            <pc:docMk/>
            <pc:sldMk cId="3603287345" sldId="290"/>
            <ac:cxnSpMk id="66" creationId="{5FDEFA49-4A07-44DE-8D0C-EB36C0D57718}"/>
          </ac:cxnSpMkLst>
        </pc:cxnChg>
      </pc:sldChg>
      <pc:sldChg chg="addSp delSp modSp add mod">
        <pc:chgData name="Frederick King" userId="bb732f183fe92d5e" providerId="LiveId" clId="{753283EB-EBC0-413C-B840-BF1DF8182372}" dt="2021-04-20T11:52:03.359" v="21349" actId="12"/>
        <pc:sldMkLst>
          <pc:docMk/>
          <pc:sldMk cId="2880267082" sldId="291"/>
        </pc:sldMkLst>
        <pc:spChg chg="mod">
          <ac:chgData name="Frederick King" userId="bb732f183fe92d5e" providerId="LiveId" clId="{753283EB-EBC0-413C-B840-BF1DF8182372}" dt="2021-03-31T09:19:54.729" v="18511" actId="948"/>
          <ac:spMkLst>
            <pc:docMk/>
            <pc:sldMk cId="2880267082" sldId="291"/>
            <ac:spMk id="2" creationId="{2C72BAFB-38D4-4258-BA15-1CFBBCCB4463}"/>
          </ac:spMkLst>
        </pc:spChg>
        <pc:spChg chg="add del mod modVis">
          <ac:chgData name="Frederick King" userId="bb732f183fe92d5e" providerId="LiveId" clId="{753283EB-EBC0-413C-B840-BF1DF8182372}" dt="2021-03-31T09:19:37.178" v="18144"/>
          <ac:spMkLst>
            <pc:docMk/>
            <pc:sldMk cId="2880267082" sldId="291"/>
            <ac:spMk id="3" creationId="{31E232D8-7BB2-4F3F-9995-AB7357E6C68D}"/>
          </ac:spMkLst>
        </pc:spChg>
        <pc:spChg chg="add del mod modVis">
          <ac:chgData name="Frederick King" userId="bb732f183fe92d5e" providerId="LiveId" clId="{753283EB-EBC0-413C-B840-BF1DF8182372}" dt="2021-03-31T09:19:38.788" v="18193"/>
          <ac:spMkLst>
            <pc:docMk/>
            <pc:sldMk cId="2880267082" sldId="291"/>
            <ac:spMk id="4" creationId="{6EB6E073-5168-4864-A403-6FF57732C4F2}"/>
          </ac:spMkLst>
        </pc:spChg>
        <pc:spChg chg="add del mod modVis">
          <ac:chgData name="Frederick King" userId="bb732f183fe92d5e" providerId="LiveId" clId="{753283EB-EBC0-413C-B840-BF1DF8182372}" dt="2021-03-31T09:19:41.321" v="18240"/>
          <ac:spMkLst>
            <pc:docMk/>
            <pc:sldMk cId="2880267082" sldId="291"/>
            <ac:spMk id="5" creationId="{15AC0334-8818-4868-8869-FA326E5E91E5}"/>
          </ac:spMkLst>
        </pc:spChg>
        <pc:spChg chg="add del mod modVis">
          <ac:chgData name="Frederick King" userId="bb732f183fe92d5e" providerId="LiveId" clId="{753283EB-EBC0-413C-B840-BF1DF8182372}" dt="2021-03-31T09:19:41.651" v="18283"/>
          <ac:spMkLst>
            <pc:docMk/>
            <pc:sldMk cId="2880267082" sldId="291"/>
            <ac:spMk id="6" creationId="{74C5C212-EA02-479B-92F2-876B06471F0D}"/>
          </ac:spMkLst>
        </pc:spChg>
        <pc:spChg chg="add del mod modVis">
          <ac:chgData name="Frederick King" userId="bb732f183fe92d5e" providerId="LiveId" clId="{753283EB-EBC0-413C-B840-BF1DF8182372}" dt="2021-03-31T09:19:43.520" v="18332"/>
          <ac:spMkLst>
            <pc:docMk/>
            <pc:sldMk cId="2880267082" sldId="291"/>
            <ac:spMk id="8" creationId="{7717128A-E9F8-4CFD-9101-9C90A735C589}"/>
          </ac:spMkLst>
        </pc:spChg>
        <pc:spChg chg="del">
          <ac:chgData name="Frederick King" userId="bb732f183fe92d5e" providerId="LiveId" clId="{753283EB-EBC0-413C-B840-BF1DF8182372}" dt="2021-03-31T09:19:22.404" v="18066" actId="478"/>
          <ac:spMkLst>
            <pc:docMk/>
            <pc:sldMk cId="2880267082" sldId="291"/>
            <ac:spMk id="10" creationId="{D6CC0A4C-2BF6-4689-ABFE-59FB61B4782B}"/>
          </ac:spMkLst>
        </pc:spChg>
        <pc:spChg chg="add del mod modVis">
          <ac:chgData name="Frederick King" userId="bb732f183fe92d5e" providerId="LiveId" clId="{753283EB-EBC0-413C-B840-BF1DF8182372}" dt="2021-03-31T09:19:44.835" v="18373"/>
          <ac:spMkLst>
            <pc:docMk/>
            <pc:sldMk cId="2880267082" sldId="291"/>
            <ac:spMk id="12" creationId="{94537B26-73BC-43ED-B9FF-4F62B4088057}"/>
          </ac:spMkLst>
        </pc:spChg>
        <pc:spChg chg="add del mod modVis">
          <ac:chgData name="Frederick King" userId="bb732f183fe92d5e" providerId="LiveId" clId="{753283EB-EBC0-413C-B840-BF1DF8182372}" dt="2021-03-31T09:19:46.685" v="18417"/>
          <ac:spMkLst>
            <pc:docMk/>
            <pc:sldMk cId="2880267082" sldId="291"/>
            <ac:spMk id="13" creationId="{CEA63DA1-8331-4D57-A125-6C7CE740D5CF}"/>
          </ac:spMkLst>
        </pc:spChg>
        <pc:spChg chg="add del mod modVis">
          <ac:chgData name="Frederick King" userId="bb732f183fe92d5e" providerId="LiveId" clId="{753283EB-EBC0-413C-B840-BF1DF8182372}" dt="2021-03-31T09:19:52.120" v="18458"/>
          <ac:spMkLst>
            <pc:docMk/>
            <pc:sldMk cId="2880267082" sldId="291"/>
            <ac:spMk id="14" creationId="{F80402C6-500F-47EE-959C-3F8B971F9029}"/>
          </ac:spMkLst>
        </pc:spChg>
        <pc:spChg chg="add del mod modVis">
          <ac:chgData name="Frederick King" userId="bb732f183fe92d5e" providerId="LiveId" clId="{753283EB-EBC0-413C-B840-BF1DF8182372}" dt="2021-03-31T09:19:53.751" v="18504"/>
          <ac:spMkLst>
            <pc:docMk/>
            <pc:sldMk cId="2880267082" sldId="291"/>
            <ac:spMk id="15" creationId="{41E3556E-50FF-45C7-939F-0D577FF80D67}"/>
          </ac:spMkLst>
        </pc:spChg>
        <pc:spChg chg="add del mod modVis">
          <ac:chgData name="Frederick King" userId="bb732f183fe92d5e" providerId="LiveId" clId="{753283EB-EBC0-413C-B840-BF1DF8182372}" dt="2021-03-31T09:19:54.761" v="18548"/>
          <ac:spMkLst>
            <pc:docMk/>
            <pc:sldMk cId="2880267082" sldId="291"/>
            <ac:spMk id="16" creationId="{270C2A03-C8D6-4347-91BD-4F916C693C96}"/>
          </ac:spMkLst>
        </pc:spChg>
        <pc:graphicFrameChg chg="mod">
          <ac:chgData name="Frederick King" userId="bb732f183fe92d5e" providerId="LiveId" clId="{753283EB-EBC0-413C-B840-BF1DF8182372}" dt="2021-03-31T09:19:54.761" v="18550"/>
          <ac:graphicFrameMkLst>
            <pc:docMk/>
            <pc:sldMk cId="2880267082" sldId="291"/>
            <ac:graphicFrameMk id="11" creationId="{EFB91133-0E2F-48F6-A178-B17E2BEC5EAB}"/>
          </ac:graphicFrameMkLst>
        </pc:graphicFrameChg>
        <pc:graphicFrameChg chg="add mod modGraphic">
          <ac:chgData name="Frederick King" userId="bb732f183fe92d5e" providerId="LiveId" clId="{753283EB-EBC0-413C-B840-BF1DF8182372}" dt="2021-03-31T11:29:45.467" v="19159" actId="2084"/>
          <ac:graphicFrameMkLst>
            <pc:docMk/>
            <pc:sldMk cId="2880267082" sldId="291"/>
            <ac:graphicFrameMk id="17" creationId="{108CAAAE-AEFF-4557-838E-FBFE835E2720}"/>
          </ac:graphicFrameMkLst>
        </pc:graphicFrameChg>
        <pc:graphicFrameChg chg="add mod modGraphic">
          <ac:chgData name="Frederick King" userId="bb732f183fe92d5e" providerId="LiveId" clId="{753283EB-EBC0-413C-B840-BF1DF8182372}" dt="2021-04-20T11:52:03.359" v="21349" actId="12"/>
          <ac:graphicFrameMkLst>
            <pc:docMk/>
            <pc:sldMk cId="2880267082" sldId="291"/>
            <ac:graphicFrameMk id="18" creationId="{C77FFABE-F12D-452A-9423-866D1C5FAFBA}"/>
          </ac:graphicFrameMkLst>
        </pc:graphicFrameChg>
        <pc:graphicFrameChg chg="add del mod">
          <ac:chgData name="Frederick King" userId="bb732f183fe92d5e" providerId="LiveId" clId="{753283EB-EBC0-413C-B840-BF1DF8182372}" dt="2021-03-31T09:24:19.565" v="18682" actId="478"/>
          <ac:graphicFrameMkLst>
            <pc:docMk/>
            <pc:sldMk cId="2880267082" sldId="291"/>
            <ac:graphicFrameMk id="19" creationId="{5DAAE745-20E6-46F3-B7C1-91D66E50BD54}"/>
          </ac:graphicFrameMkLst>
        </pc:graphicFrameChg>
        <pc:graphicFrameChg chg="add mod modGraphic">
          <ac:chgData name="Frederick King" userId="bb732f183fe92d5e" providerId="LiveId" clId="{753283EB-EBC0-413C-B840-BF1DF8182372}" dt="2021-04-09T12:27:33.234" v="21257"/>
          <ac:graphicFrameMkLst>
            <pc:docMk/>
            <pc:sldMk cId="2880267082" sldId="291"/>
            <ac:graphicFrameMk id="20" creationId="{E3A35E71-9461-4A7D-B0B3-048D7F20BFE9}"/>
          </ac:graphicFrameMkLst>
        </pc:graphicFrameChg>
        <pc:graphicFrameChg chg="add del mod">
          <ac:chgData name="Frederick King" userId="bb732f183fe92d5e" providerId="LiveId" clId="{753283EB-EBC0-413C-B840-BF1DF8182372}" dt="2021-03-31T09:28:17.650" v="18890" actId="478"/>
          <ac:graphicFrameMkLst>
            <pc:docMk/>
            <pc:sldMk cId="2880267082" sldId="291"/>
            <ac:graphicFrameMk id="21" creationId="{BC72F892-7A01-4C0A-8BEB-E276F75606F2}"/>
          </ac:graphicFrameMkLst>
        </pc:graphicFrameChg>
        <pc:graphicFrameChg chg="add del mod modGraphic">
          <ac:chgData name="Frederick King" userId="bb732f183fe92d5e" providerId="LiveId" clId="{753283EB-EBC0-413C-B840-BF1DF8182372}" dt="2021-03-31T09:29:18.768" v="18910" actId="478"/>
          <ac:graphicFrameMkLst>
            <pc:docMk/>
            <pc:sldMk cId="2880267082" sldId="291"/>
            <ac:graphicFrameMk id="22" creationId="{424CD19B-BCFB-4638-965E-8AFCD36BB3D1}"/>
          </ac:graphicFrameMkLst>
        </pc:graphicFrameChg>
        <pc:graphicFrameChg chg="add mod modGraphic">
          <ac:chgData name="Frederick King" userId="bb732f183fe92d5e" providerId="LiveId" clId="{753283EB-EBC0-413C-B840-BF1DF8182372}" dt="2021-03-31T11:29:48.066" v="19160" actId="2084"/>
          <ac:graphicFrameMkLst>
            <pc:docMk/>
            <pc:sldMk cId="2880267082" sldId="291"/>
            <ac:graphicFrameMk id="23" creationId="{66374E13-1A52-43E8-AF62-BABFC6049D85}"/>
          </ac:graphicFrameMkLst>
        </pc:graphicFrameChg>
      </pc:sldChg>
      <pc:sldChg chg="delSp modSp add del mod">
        <pc:chgData name="Frederick King" userId="bb732f183fe92d5e" providerId="LiveId" clId="{753283EB-EBC0-413C-B840-BF1DF8182372}" dt="2021-04-07T10:25:10.189" v="21219" actId="47"/>
        <pc:sldMkLst>
          <pc:docMk/>
          <pc:sldMk cId="1427896486" sldId="292"/>
        </pc:sldMkLst>
        <pc:spChg chg="mod">
          <ac:chgData name="Frederick King" userId="bb732f183fe92d5e" providerId="LiveId" clId="{753283EB-EBC0-413C-B840-BF1DF8182372}" dt="2021-04-01T11:17:42.090" v="20308" actId="20577"/>
          <ac:spMkLst>
            <pc:docMk/>
            <pc:sldMk cId="1427896486" sldId="292"/>
            <ac:spMk id="2" creationId="{88395490-5244-46CE-8656-58BB910011B6}"/>
          </ac:spMkLst>
        </pc:spChg>
        <pc:spChg chg="del">
          <ac:chgData name="Frederick King" userId="bb732f183fe92d5e" providerId="LiveId" clId="{753283EB-EBC0-413C-B840-BF1DF8182372}" dt="2021-04-01T11:17:39.181" v="20298" actId="478"/>
          <ac:spMkLst>
            <pc:docMk/>
            <pc:sldMk cId="1427896486" sldId="292"/>
            <ac:spMk id="4" creationId="{66ED5443-CA6C-4775-886A-5865318DA140}"/>
          </ac:spMkLst>
        </pc:spChg>
        <pc:graphicFrameChg chg="del">
          <ac:chgData name="Frederick King" userId="bb732f183fe92d5e" providerId="LiveId" clId="{753283EB-EBC0-413C-B840-BF1DF8182372}" dt="2021-04-01T11:17:38.474" v="20297" actId="478"/>
          <ac:graphicFrameMkLst>
            <pc:docMk/>
            <pc:sldMk cId="1427896486" sldId="292"/>
            <ac:graphicFrameMk id="9" creationId="{3F0CBEE6-308C-48B4-AD3F-0546A56450BC}"/>
          </ac:graphicFrameMkLst>
        </pc:graphicFrameChg>
      </pc:sldChg>
      <pc:sldChg chg="addSp delSp modSp add del mod">
        <pc:chgData name="Frederick King" userId="bb732f183fe92d5e" providerId="LiveId" clId="{753283EB-EBC0-413C-B840-BF1DF8182372}" dt="2021-04-01T11:17:30.016" v="20294" actId="2696"/>
        <pc:sldMkLst>
          <pc:docMk/>
          <pc:sldMk cId="3515700817" sldId="292"/>
        </pc:sldMkLst>
        <pc:spChg chg="add mod">
          <ac:chgData name="Frederick King" userId="bb732f183fe92d5e" providerId="LiveId" clId="{753283EB-EBC0-413C-B840-BF1DF8182372}" dt="2021-04-01T11:17:28.053" v="20293" actId="20577"/>
          <ac:spMkLst>
            <pc:docMk/>
            <pc:sldMk cId="3515700817" sldId="292"/>
            <ac:spMk id="4" creationId="{66ED5443-CA6C-4775-886A-5865318DA140}"/>
          </ac:spMkLst>
        </pc:spChg>
        <pc:cxnChg chg="add del mod">
          <ac:chgData name="Frederick King" userId="bb732f183fe92d5e" providerId="LiveId" clId="{753283EB-EBC0-413C-B840-BF1DF8182372}" dt="2021-04-01T11:17:22.455" v="20260"/>
          <ac:cxnSpMkLst>
            <pc:docMk/>
            <pc:sldMk cId="3515700817" sldId="292"/>
            <ac:cxnSpMk id="3" creationId="{2023C739-4BA7-42F9-8166-6B4D1919217C}"/>
          </ac:cxnSpMkLst>
        </pc:cxnChg>
      </pc:sldChg>
      <pc:sldChg chg="add del">
        <pc:chgData name="Frederick King" userId="bb732f183fe92d5e" providerId="LiveId" clId="{753283EB-EBC0-413C-B840-BF1DF8182372}" dt="2021-04-07T10:25:06.161" v="21218" actId="47"/>
        <pc:sldMkLst>
          <pc:docMk/>
          <pc:sldMk cId="1419829555" sldId="293"/>
        </pc:sldMkLst>
      </pc:sldChg>
      <pc:sldMasterChg chg="addSp delSp modSp mod modSldLayout">
        <pc:chgData name="Frederick King" userId="bb732f183fe92d5e" providerId="LiveId" clId="{753283EB-EBC0-413C-B840-BF1DF8182372}" dt="2021-04-21T13:50:46.179" v="21573" actId="478"/>
        <pc:sldMasterMkLst>
          <pc:docMk/>
          <pc:sldMasterMk cId="1747802691" sldId="2147483648"/>
        </pc:sldMasterMkLst>
        <pc:spChg chg="mod">
          <ac:chgData name="Frederick King" userId="bb732f183fe92d5e" providerId="LiveId" clId="{753283EB-EBC0-413C-B840-BF1DF8182372}" dt="2021-03-29T16:59:41.720" v="3210" actId="948"/>
          <ac:spMkLst>
            <pc:docMk/>
            <pc:sldMasterMk cId="1747802691" sldId="2147483648"/>
            <ac:spMk id="2" creationId="{DAB6952E-20AB-4658-930A-D38743655C13}"/>
          </ac:spMkLst>
        </pc:spChg>
        <pc:spChg chg="mod">
          <ac:chgData name="Frederick King" userId="bb732f183fe92d5e" providerId="LiveId" clId="{753283EB-EBC0-413C-B840-BF1DF8182372}" dt="2021-04-01T11:39:36.906" v="20835" actId="14100"/>
          <ac:spMkLst>
            <pc:docMk/>
            <pc:sldMasterMk cId="1747802691" sldId="2147483648"/>
            <ac:spMk id="3" creationId="{1973DDBE-A92E-439E-86BC-3EBA4652597D}"/>
          </ac:spMkLst>
        </pc:spChg>
        <pc:spChg chg="add del mod modVis">
          <ac:chgData name="Frederick King" userId="bb732f183fe92d5e" providerId="LiveId" clId="{753283EB-EBC0-413C-B840-BF1DF8182372}" dt="2021-03-29T16:59:41.756" v="3247"/>
          <ac:spMkLst>
            <pc:docMk/>
            <pc:sldMasterMk cId="1747802691" sldId="2147483648"/>
            <ac:spMk id="4" creationId="{DCDF3748-A5F7-4030-B02F-0861AD311170}"/>
          </ac:spMkLst>
        </pc:spChg>
        <pc:spChg chg="add del mod">
          <ac:chgData name="Frederick King" userId="bb732f183fe92d5e" providerId="LiveId" clId="{753283EB-EBC0-413C-B840-BF1DF8182372}" dt="2021-04-21T13:50:46.179" v="21573" actId="478"/>
          <ac:spMkLst>
            <pc:docMk/>
            <pc:sldMasterMk cId="1747802691" sldId="2147483648"/>
            <ac:spMk id="6" creationId="{1822AD5C-CF44-4FFB-A881-45125B70B021}"/>
          </ac:spMkLst>
        </pc:spChg>
        <pc:spChg chg="mod">
          <ac:chgData name="Frederick King" userId="bb732f183fe92d5e" providerId="LiveId" clId="{753283EB-EBC0-413C-B840-BF1DF8182372}" dt="2021-04-21T13:50:42.769" v="21572" actId="12789"/>
          <ac:spMkLst>
            <pc:docMk/>
            <pc:sldMasterMk cId="1747802691" sldId="2147483648"/>
            <ac:spMk id="23" creationId="{22D79698-1342-4767-8943-EC0BBE00DCE0}"/>
          </ac:spMkLst>
        </pc:spChg>
        <pc:graphicFrameChg chg="mod">
          <ac:chgData name="Frederick King" userId="bb732f183fe92d5e" providerId="LiveId" clId="{753283EB-EBC0-413C-B840-BF1DF8182372}" dt="2021-03-29T16:59:41.758" v="3249"/>
          <ac:graphicFrameMkLst>
            <pc:docMk/>
            <pc:sldMasterMk cId="1747802691" sldId="2147483648"/>
            <ac:graphicFrameMk id="8" creationId="{89C170C1-3A67-43AD-A913-8D4F4AE9AE1D}"/>
          </ac:graphicFrameMkLst>
        </pc:graphicFrameChg>
        <pc:sldLayoutChg chg="modSp mod">
          <pc:chgData name="Frederick King" userId="bb732f183fe92d5e" providerId="LiveId" clId="{753283EB-EBC0-413C-B840-BF1DF8182372}" dt="2021-04-01T11:39:52.186" v="20837" actId="14100"/>
          <pc:sldLayoutMkLst>
            <pc:docMk/>
            <pc:sldMasterMk cId="1747802691" sldId="2147483648"/>
            <pc:sldLayoutMk cId="50036886" sldId="2147483650"/>
          </pc:sldLayoutMkLst>
          <pc:spChg chg="mod">
            <ac:chgData name="Frederick King" userId="bb732f183fe92d5e" providerId="LiveId" clId="{753283EB-EBC0-413C-B840-BF1DF8182372}" dt="2021-04-01T11:39:52.186" v="20837" actId="14100"/>
            <ac:spMkLst>
              <pc:docMk/>
              <pc:sldMasterMk cId="1747802691" sldId="2147483648"/>
              <pc:sldLayoutMk cId="50036886" sldId="2147483650"/>
              <ac:spMk id="3" creationId="{96CAC32F-D708-481D-949A-6C48CB19CEF4}"/>
            </ac:spMkLst>
          </pc:spChg>
        </pc:sldLayoutChg>
        <pc:sldLayoutChg chg="modSp mod">
          <pc:chgData name="Frederick King" userId="bb732f183fe92d5e" providerId="LiveId" clId="{753283EB-EBC0-413C-B840-BF1DF8182372}" dt="2021-04-01T11:39:57.796" v="20838" actId="14100"/>
          <pc:sldLayoutMkLst>
            <pc:docMk/>
            <pc:sldMasterMk cId="1747802691" sldId="2147483648"/>
            <pc:sldLayoutMk cId="4173434269" sldId="2147483651"/>
          </pc:sldLayoutMkLst>
          <pc:spChg chg="mod">
            <ac:chgData name="Frederick King" userId="bb732f183fe92d5e" providerId="LiveId" clId="{753283EB-EBC0-413C-B840-BF1DF8182372}" dt="2021-04-01T11:39:57.796" v="20838" actId="14100"/>
            <ac:spMkLst>
              <pc:docMk/>
              <pc:sldMasterMk cId="1747802691" sldId="2147483648"/>
              <pc:sldLayoutMk cId="4173434269" sldId="2147483651"/>
              <ac:spMk id="3" creationId="{96CAC32F-D708-481D-949A-6C48CB19CEF4}"/>
            </ac:spMkLst>
          </pc:spChg>
        </pc:sldLayoutChg>
      </pc:sldMasterChg>
    </pc:docChg>
  </pc:docChgLst>
  <pc:docChgLst>
    <pc:chgData name="Frederick King" userId="bb732f183fe92d5e" providerId="LiveId" clId="{98BB6581-7319-41FB-8D18-401540F4ACDB}"/>
    <pc:docChg chg="undo custSel modSld">
      <pc:chgData name="Frederick King" userId="bb732f183fe92d5e" providerId="LiveId" clId="{98BB6581-7319-41FB-8D18-401540F4ACDB}" dt="2021-05-10T08:38:42.121" v="17" actId="693"/>
      <pc:docMkLst>
        <pc:docMk/>
      </pc:docMkLst>
      <pc:sldChg chg="modSp mod">
        <pc:chgData name="Frederick King" userId="bb732f183fe92d5e" providerId="LiveId" clId="{98BB6581-7319-41FB-8D18-401540F4ACDB}" dt="2021-05-10T08:38:42.121" v="17" actId="693"/>
        <pc:sldMkLst>
          <pc:docMk/>
          <pc:sldMk cId="2292278634" sldId="285"/>
        </pc:sldMkLst>
        <pc:cxnChg chg="mod">
          <ac:chgData name="Frederick King" userId="bb732f183fe92d5e" providerId="LiveId" clId="{98BB6581-7319-41FB-8D18-401540F4ACDB}" dt="2021-05-10T08:38:42.121" v="17" actId="693"/>
          <ac:cxnSpMkLst>
            <pc:docMk/>
            <pc:sldMk cId="2292278634" sldId="285"/>
            <ac:cxnSpMk id="8" creationId="{BBE91C8D-C016-4027-A56A-6287023E23DB}"/>
          </ac:cxnSpMkLst>
        </pc:cxnChg>
        <pc:cxnChg chg="mod">
          <ac:chgData name="Frederick King" userId="bb732f183fe92d5e" providerId="LiveId" clId="{98BB6581-7319-41FB-8D18-401540F4ACDB}" dt="2021-05-10T08:38:42.121" v="17" actId="693"/>
          <ac:cxnSpMkLst>
            <pc:docMk/>
            <pc:sldMk cId="2292278634" sldId="285"/>
            <ac:cxnSpMk id="9" creationId="{27D7B754-8F86-4E60-AD69-4CFF1DB24711}"/>
          </ac:cxnSpMkLst>
        </pc:cxnChg>
      </pc:sldChg>
      <pc:sldChg chg="modSp mod">
        <pc:chgData name="Frederick King" userId="bb732f183fe92d5e" providerId="LiveId" clId="{98BB6581-7319-41FB-8D18-401540F4ACDB}" dt="2021-05-10T08:28:13.402" v="16" actId="207"/>
        <pc:sldMkLst>
          <pc:docMk/>
          <pc:sldMk cId="4093805697" sldId="296"/>
        </pc:sldMkLst>
        <pc:spChg chg="mod">
          <ac:chgData name="Frederick King" userId="bb732f183fe92d5e" providerId="LiveId" clId="{98BB6581-7319-41FB-8D18-401540F4ACDB}" dt="2021-05-10T08:28:13.402" v="16" actId="207"/>
          <ac:spMkLst>
            <pc:docMk/>
            <pc:sldMk cId="4093805697" sldId="296"/>
            <ac:spMk id="5" creationId="{28F20F95-7F03-440B-B47C-B1F7B4508CB0}"/>
          </ac:spMkLst>
        </pc:spChg>
        <pc:picChg chg="mod">
          <ac:chgData name="Frederick King" userId="bb732f183fe92d5e" providerId="LiveId" clId="{98BB6581-7319-41FB-8D18-401540F4ACDB}" dt="2021-05-07T08:47:24.706" v="6" actId="1037"/>
          <ac:picMkLst>
            <pc:docMk/>
            <pc:sldMk cId="4093805697" sldId="296"/>
            <ac:picMk id="7" creationId="{5CAC8028-CF08-4D12-A9AC-19B866BC42EC}"/>
          </ac:picMkLst>
        </pc:picChg>
      </pc:sldChg>
    </pc:docChg>
  </pc:docChgLst>
  <pc:docChgLst>
    <pc:chgData name="Frederick King" userId="bb732f183fe92d5e" providerId="LiveId" clId="{8C759A55-8C77-4844-BB7D-773466845227}"/>
    <pc:docChg chg="modSld">
      <pc:chgData name="Frederick King" userId="bb732f183fe92d5e" providerId="LiveId" clId="{8C759A55-8C77-4844-BB7D-773466845227}" dt="2021-05-12T09:21:36.252" v="0"/>
      <pc:docMkLst>
        <pc:docMk/>
      </pc:docMkLst>
      <pc:sldChg chg="modSp">
        <pc:chgData name="Frederick King" userId="bb732f183fe92d5e" providerId="LiveId" clId="{8C759A55-8C77-4844-BB7D-773466845227}" dt="2021-05-12T09:21:36.252" v="0"/>
        <pc:sldMkLst>
          <pc:docMk/>
          <pc:sldMk cId="4093805697" sldId="296"/>
        </pc:sldMkLst>
        <pc:picChg chg="mod">
          <ac:chgData name="Frederick King" userId="bb732f183fe92d5e" providerId="LiveId" clId="{8C759A55-8C77-4844-BB7D-773466845227}" dt="2021-05-12T09:21:36.252" v="0"/>
          <ac:picMkLst>
            <pc:docMk/>
            <pc:sldMk cId="4093805697" sldId="296"/>
            <ac:picMk id="7" creationId="{5CAC8028-CF08-4D12-A9AC-19B866BC42EC}"/>
          </ac:picMkLst>
        </pc:picChg>
      </pc:sldChg>
    </pc:docChg>
  </pc:docChgLst>
  <pc:docChgLst>
    <pc:chgData name="Frederick King" userId="bb732f183fe92d5e" providerId="LiveId" clId="{67E6E49F-51D8-477B-BCCD-905AA3269412}"/>
    <pc:docChg chg="undo custSel addSld delSld modSld modMainMaster">
      <pc:chgData name="Frederick King" userId="bb732f183fe92d5e" providerId="LiveId" clId="{67E6E49F-51D8-477B-BCCD-905AA3269412}" dt="2021-05-07T08:33:00.215" v="2704" actId="20577"/>
      <pc:docMkLst>
        <pc:docMk/>
      </pc:docMkLst>
      <pc:sldChg chg="modSp mod">
        <pc:chgData name="Frederick King" userId="bb732f183fe92d5e" providerId="LiveId" clId="{67E6E49F-51D8-477B-BCCD-905AA3269412}" dt="2021-04-22T12:27:30.448" v="3" actId="1076"/>
        <pc:sldMkLst>
          <pc:docMk/>
          <pc:sldMk cId="2217190525" sldId="275"/>
        </pc:sldMkLst>
        <pc:spChg chg="mod">
          <ac:chgData name="Frederick King" userId="bb732f183fe92d5e" providerId="LiveId" clId="{67E6E49F-51D8-477B-BCCD-905AA3269412}" dt="2021-04-22T12:27:30.448" v="3" actId="1076"/>
          <ac:spMkLst>
            <pc:docMk/>
            <pc:sldMk cId="2217190525" sldId="275"/>
            <ac:spMk id="2" creationId="{5FC5268C-A911-45F3-992C-A89D6E608D41}"/>
          </ac:spMkLst>
        </pc:spChg>
      </pc:sldChg>
      <pc:sldChg chg="modSp mod">
        <pc:chgData name="Frederick King" userId="bb732f183fe92d5e" providerId="LiveId" clId="{67E6E49F-51D8-477B-BCCD-905AA3269412}" dt="2021-04-22T12:31:05.816" v="7" actId="207"/>
        <pc:sldMkLst>
          <pc:docMk/>
          <pc:sldMk cId="2147208854" sldId="277"/>
        </pc:sldMkLst>
        <pc:spChg chg="mod">
          <ac:chgData name="Frederick King" userId="bb732f183fe92d5e" providerId="LiveId" clId="{67E6E49F-51D8-477B-BCCD-905AA3269412}" dt="2021-04-22T12:31:05.816" v="7" actId="207"/>
          <ac:spMkLst>
            <pc:docMk/>
            <pc:sldMk cId="2147208854" sldId="277"/>
            <ac:spMk id="43" creationId="{D63B20A8-57E6-4198-9539-65B23B0E021F}"/>
          </ac:spMkLst>
        </pc:spChg>
      </pc:sldChg>
      <pc:sldChg chg="modSp mod">
        <pc:chgData name="Frederick King" userId="bb732f183fe92d5e" providerId="LiveId" clId="{67E6E49F-51D8-477B-BCCD-905AA3269412}" dt="2021-04-22T13:04:39.624" v="1331" actId="20577"/>
        <pc:sldMkLst>
          <pc:docMk/>
          <pc:sldMk cId="1748074316" sldId="278"/>
        </pc:sldMkLst>
        <pc:spChg chg="mod">
          <ac:chgData name="Frederick King" userId="bb732f183fe92d5e" providerId="LiveId" clId="{67E6E49F-51D8-477B-BCCD-905AA3269412}" dt="2021-04-22T13:04:39.624" v="1331" actId="20577"/>
          <ac:spMkLst>
            <pc:docMk/>
            <pc:sldMk cId="1748074316" sldId="278"/>
            <ac:spMk id="25" creationId="{91446B96-94A7-4D02-930C-E0C259D5B228}"/>
          </ac:spMkLst>
        </pc:spChg>
      </pc:sldChg>
      <pc:sldChg chg="delSp modSp mod">
        <pc:chgData name="Frederick King" userId="bb732f183fe92d5e" providerId="LiveId" clId="{67E6E49F-51D8-477B-BCCD-905AA3269412}" dt="2021-04-22T12:50:36.377" v="905" actId="20577"/>
        <pc:sldMkLst>
          <pc:docMk/>
          <pc:sldMk cId="2479679375" sldId="280"/>
        </pc:sldMkLst>
        <pc:spChg chg="del">
          <ac:chgData name="Frederick King" userId="bb732f183fe92d5e" providerId="LiveId" clId="{67E6E49F-51D8-477B-BCCD-905AA3269412}" dt="2021-04-22T12:47:28.087" v="651" actId="478"/>
          <ac:spMkLst>
            <pc:docMk/>
            <pc:sldMk cId="2479679375" sldId="280"/>
            <ac:spMk id="6" creationId="{486F835D-6E42-409E-9BCF-62AD4A336141}"/>
          </ac:spMkLst>
        </pc:spChg>
        <pc:graphicFrameChg chg="modGraphic">
          <ac:chgData name="Frederick King" userId="bb732f183fe92d5e" providerId="LiveId" clId="{67E6E49F-51D8-477B-BCCD-905AA3269412}" dt="2021-04-22T12:50:36.377" v="905" actId="20577"/>
          <ac:graphicFrameMkLst>
            <pc:docMk/>
            <pc:sldMk cId="2479679375" sldId="280"/>
            <ac:graphicFrameMk id="4" creationId="{A255111F-496F-4798-A548-F91A1EEA191C}"/>
          </ac:graphicFrameMkLst>
        </pc:graphicFrameChg>
      </pc:sldChg>
      <pc:sldChg chg="modSp mod">
        <pc:chgData name="Frederick King" userId="bb732f183fe92d5e" providerId="LiveId" clId="{67E6E49F-51D8-477B-BCCD-905AA3269412}" dt="2021-04-22T12:54:24.805" v="1177" actId="20577"/>
        <pc:sldMkLst>
          <pc:docMk/>
          <pc:sldMk cId="371294846" sldId="281"/>
        </pc:sldMkLst>
        <pc:spChg chg="mod">
          <ac:chgData name="Frederick King" userId="bb732f183fe92d5e" providerId="LiveId" clId="{67E6E49F-51D8-477B-BCCD-905AA3269412}" dt="2021-04-22T12:53:34.526" v="1124" actId="20577"/>
          <ac:spMkLst>
            <pc:docMk/>
            <pc:sldMk cId="371294846" sldId="281"/>
            <ac:spMk id="6" creationId="{C6603FAD-9C84-46A6-B9DB-52EF18C21C65}"/>
          </ac:spMkLst>
        </pc:spChg>
        <pc:spChg chg="mod">
          <ac:chgData name="Frederick King" userId="bb732f183fe92d5e" providerId="LiveId" clId="{67E6E49F-51D8-477B-BCCD-905AA3269412}" dt="2021-04-22T12:54:24.805" v="1177" actId="20577"/>
          <ac:spMkLst>
            <pc:docMk/>
            <pc:sldMk cId="371294846" sldId="281"/>
            <ac:spMk id="9" creationId="{4BFBE253-46C2-4A5A-B92B-D6E79BFB03EC}"/>
          </ac:spMkLst>
        </pc:spChg>
      </pc:sldChg>
      <pc:sldChg chg="modSp mod">
        <pc:chgData name="Frederick King" userId="bb732f183fe92d5e" providerId="LiveId" clId="{67E6E49F-51D8-477B-BCCD-905AA3269412}" dt="2021-04-22T12:55:18.765" v="1182" actId="207"/>
        <pc:sldMkLst>
          <pc:docMk/>
          <pc:sldMk cId="4162877925" sldId="284"/>
        </pc:sldMkLst>
        <pc:graphicFrameChg chg="modGraphic">
          <ac:chgData name="Frederick King" userId="bb732f183fe92d5e" providerId="LiveId" clId="{67E6E49F-51D8-477B-BCCD-905AA3269412}" dt="2021-04-22T12:55:18.765" v="1182" actId="207"/>
          <ac:graphicFrameMkLst>
            <pc:docMk/>
            <pc:sldMk cId="4162877925" sldId="284"/>
            <ac:graphicFrameMk id="4" creationId="{0D8B8836-472E-4B5B-A7ED-A4E38E258A37}"/>
          </ac:graphicFrameMkLst>
        </pc:graphicFrameChg>
      </pc:sldChg>
      <pc:sldChg chg="modSp add del mod">
        <pc:chgData name="Frederick King" userId="bb732f183fe92d5e" providerId="LiveId" clId="{67E6E49F-51D8-477B-BCCD-905AA3269412}" dt="2021-04-29T16:16:50.060" v="1423" actId="2696"/>
        <pc:sldMkLst>
          <pc:docMk/>
          <pc:sldMk cId="2292278634" sldId="285"/>
        </pc:sldMkLst>
        <pc:spChg chg="mod">
          <ac:chgData name="Frederick King" userId="bb732f183fe92d5e" providerId="LiveId" clId="{67E6E49F-51D8-477B-BCCD-905AA3269412}" dt="2021-04-22T13:03:44.495" v="1318" actId="20577"/>
          <ac:spMkLst>
            <pc:docMk/>
            <pc:sldMk cId="2292278634" sldId="285"/>
            <ac:spMk id="19" creationId="{03987D05-0270-4C0B-82C2-F9E1561130CB}"/>
          </ac:spMkLst>
        </pc:spChg>
      </pc:sldChg>
      <pc:sldChg chg="modSp mod">
        <pc:chgData name="Frederick King" userId="bb732f183fe92d5e" providerId="LiveId" clId="{67E6E49F-51D8-477B-BCCD-905AA3269412}" dt="2021-04-29T16:18:48.697" v="1455" actId="122"/>
        <pc:sldMkLst>
          <pc:docMk/>
          <pc:sldMk cId="61405604" sldId="286"/>
        </pc:sldMkLst>
        <pc:spChg chg="mod">
          <ac:chgData name="Frederick King" userId="bb732f183fe92d5e" providerId="LiveId" clId="{67E6E49F-51D8-477B-BCCD-905AA3269412}" dt="2021-04-29T16:18:48.697" v="1455" actId="122"/>
          <ac:spMkLst>
            <pc:docMk/>
            <pc:sldMk cId="61405604" sldId="286"/>
            <ac:spMk id="7" creationId="{0795C69C-FE4A-463E-AE4E-37AE1DC01759}"/>
          </ac:spMkLst>
        </pc:spChg>
        <pc:spChg chg="mod">
          <ac:chgData name="Frederick King" userId="bb732f183fe92d5e" providerId="LiveId" clId="{67E6E49F-51D8-477B-BCCD-905AA3269412}" dt="2021-04-22T13:08:49.913" v="1364" actId="20577"/>
          <ac:spMkLst>
            <pc:docMk/>
            <pc:sldMk cId="61405604" sldId="286"/>
            <ac:spMk id="9" creationId="{FBFF7BBD-E5E2-4A63-A6B1-AB6CCB651167}"/>
          </ac:spMkLst>
        </pc:spChg>
        <pc:spChg chg="mod">
          <ac:chgData name="Frederick King" userId="bb732f183fe92d5e" providerId="LiveId" clId="{67E6E49F-51D8-477B-BCCD-905AA3269412}" dt="2021-04-22T13:09:04.219" v="1391" actId="20577"/>
          <ac:spMkLst>
            <pc:docMk/>
            <pc:sldMk cId="61405604" sldId="286"/>
            <ac:spMk id="11" creationId="{96E24C05-E909-4715-914C-01F5F72ABC12}"/>
          </ac:spMkLst>
        </pc:spChg>
        <pc:spChg chg="mod">
          <ac:chgData name="Frederick King" userId="bb732f183fe92d5e" providerId="LiveId" clId="{67E6E49F-51D8-477B-BCCD-905AA3269412}" dt="2021-04-22T13:09:11.015" v="1400" actId="20577"/>
          <ac:spMkLst>
            <pc:docMk/>
            <pc:sldMk cId="61405604" sldId="286"/>
            <ac:spMk id="13" creationId="{D2030545-F5A7-4075-84FC-52988A3DF5CF}"/>
          </ac:spMkLst>
        </pc:spChg>
        <pc:spChg chg="mod">
          <ac:chgData name="Frederick King" userId="bb732f183fe92d5e" providerId="LiveId" clId="{67E6E49F-51D8-477B-BCCD-905AA3269412}" dt="2021-04-22T13:09:21.855" v="1419" actId="20577"/>
          <ac:spMkLst>
            <pc:docMk/>
            <pc:sldMk cId="61405604" sldId="286"/>
            <ac:spMk id="15" creationId="{A97D3CFC-E436-49BE-AFCF-8EA0AB34A505}"/>
          </ac:spMkLst>
        </pc:spChg>
      </pc:sldChg>
      <pc:sldChg chg="addSp delSp modSp mod">
        <pc:chgData name="Frederick King" userId="bb732f183fe92d5e" providerId="LiveId" clId="{67E6E49F-51D8-477B-BCCD-905AA3269412}" dt="2021-05-07T07:45:12.838" v="1466" actId="2711"/>
        <pc:sldMkLst>
          <pc:docMk/>
          <pc:sldMk cId="1159684995" sldId="288"/>
        </pc:sldMkLst>
        <pc:spChg chg="mod">
          <ac:chgData name="Frederick King" userId="bb732f183fe92d5e" providerId="LiveId" clId="{67E6E49F-51D8-477B-BCCD-905AA3269412}" dt="2021-05-07T07:45:12.838" v="1466" actId="2711"/>
          <ac:spMkLst>
            <pc:docMk/>
            <pc:sldMk cId="1159684995" sldId="288"/>
            <ac:spMk id="2" creationId="{88395490-5244-46CE-8656-58BB910011B6}"/>
          </ac:spMkLst>
        </pc:spChg>
        <pc:spChg chg="add del mod">
          <ac:chgData name="Frederick King" userId="bb732f183fe92d5e" providerId="LiveId" clId="{67E6E49F-51D8-477B-BCCD-905AA3269412}" dt="2021-04-22T13:06:48.673" v="1355" actId="478"/>
          <ac:spMkLst>
            <pc:docMk/>
            <pc:sldMk cId="1159684995" sldId="288"/>
            <ac:spMk id="3" creationId="{FD07775B-81AD-420B-99A4-2C5467A6212D}"/>
          </ac:spMkLst>
        </pc:spChg>
        <pc:spChg chg="mod">
          <ac:chgData name="Frederick King" userId="bb732f183fe92d5e" providerId="LiveId" clId="{67E6E49F-51D8-477B-BCCD-905AA3269412}" dt="2021-04-22T13:18:55.695" v="1421" actId="207"/>
          <ac:spMkLst>
            <pc:docMk/>
            <pc:sldMk cId="1159684995" sldId="288"/>
            <ac:spMk id="12" creationId="{6B4E6A59-8262-4253-AB22-7648EA0F5B4D}"/>
          </ac:spMkLst>
        </pc:spChg>
      </pc:sldChg>
      <pc:sldChg chg="modSp add mod">
        <pc:chgData name="Frederick King" userId="bb732f183fe92d5e" providerId="LiveId" clId="{67E6E49F-51D8-477B-BCCD-905AA3269412}" dt="2021-04-29T16:17:18.613" v="1448" actId="20577"/>
        <pc:sldMkLst>
          <pc:docMk/>
          <pc:sldMk cId="2538837151" sldId="290"/>
        </pc:sldMkLst>
        <pc:spChg chg="mod">
          <ac:chgData name="Frederick King" userId="bb732f183fe92d5e" providerId="LiveId" clId="{67E6E49F-51D8-477B-BCCD-905AA3269412}" dt="2021-04-29T16:17:18.613" v="1448" actId="20577"/>
          <ac:spMkLst>
            <pc:docMk/>
            <pc:sldMk cId="2538837151" sldId="290"/>
            <ac:spMk id="2" creationId="{294BDE24-F7BA-44EF-8B87-377957F26EE4}"/>
          </ac:spMkLst>
        </pc:spChg>
      </pc:sldChg>
      <pc:sldChg chg="del">
        <pc:chgData name="Frederick King" userId="bb732f183fe92d5e" providerId="LiveId" clId="{67E6E49F-51D8-477B-BCCD-905AA3269412}" dt="2021-04-29T16:16:53.691" v="1424" actId="2696"/>
        <pc:sldMkLst>
          <pc:docMk/>
          <pc:sldMk cId="3603287345" sldId="290"/>
        </pc:sldMkLst>
      </pc:sldChg>
      <pc:sldChg chg="delSp add del mod">
        <pc:chgData name="Frederick King" userId="bb732f183fe92d5e" providerId="LiveId" clId="{67E6E49F-51D8-477B-BCCD-905AA3269412}" dt="2021-04-22T12:27:24.602" v="2" actId="47"/>
        <pc:sldMkLst>
          <pc:docMk/>
          <pc:sldMk cId="748357454" sldId="292"/>
        </pc:sldMkLst>
        <pc:graphicFrameChg chg="del">
          <ac:chgData name="Frederick King" userId="bb732f183fe92d5e" providerId="LiveId" clId="{67E6E49F-51D8-477B-BCCD-905AA3269412}" dt="2021-04-22T12:27:17.294" v="1" actId="478"/>
          <ac:graphicFrameMkLst>
            <pc:docMk/>
            <pc:sldMk cId="748357454" sldId="292"/>
            <ac:graphicFrameMk id="4" creationId="{2F7E9A6B-20DE-4DF5-A60B-9FDF382781D5}"/>
          </ac:graphicFrameMkLst>
        </pc:graphicFrameChg>
      </pc:sldChg>
      <pc:sldChg chg="addSp delSp modSp add mod">
        <pc:chgData name="Frederick King" userId="bb732f183fe92d5e" providerId="LiveId" clId="{67E6E49F-51D8-477B-BCCD-905AA3269412}" dt="2021-04-22T12:59:24.410" v="1288" actId="164"/>
        <pc:sldMkLst>
          <pc:docMk/>
          <pc:sldMk cId="2303097618" sldId="292"/>
        </pc:sldMkLst>
        <pc:spChg chg="add mod topLvl">
          <ac:chgData name="Frederick King" userId="bb732f183fe92d5e" providerId="LiveId" clId="{67E6E49F-51D8-477B-BCCD-905AA3269412}" dt="2021-04-22T12:59:24.410" v="1288" actId="164"/>
          <ac:spMkLst>
            <pc:docMk/>
            <pc:sldMk cId="2303097618" sldId="292"/>
            <ac:spMk id="7" creationId="{DA43DC02-5BEC-43A1-85D0-131732D6FF80}"/>
          </ac:spMkLst>
        </pc:spChg>
        <pc:spChg chg="mod topLvl">
          <ac:chgData name="Frederick King" userId="bb732f183fe92d5e" providerId="LiveId" clId="{67E6E49F-51D8-477B-BCCD-905AA3269412}" dt="2021-04-22T12:59:24.410" v="1288" actId="164"/>
          <ac:spMkLst>
            <pc:docMk/>
            <pc:sldMk cId="2303097618" sldId="292"/>
            <ac:spMk id="10" creationId="{82EA614B-AA9E-429E-8313-43586A7BE9A7}"/>
          </ac:spMkLst>
        </pc:spChg>
        <pc:spChg chg="mod topLvl">
          <ac:chgData name="Frederick King" userId="bb732f183fe92d5e" providerId="LiveId" clId="{67E6E49F-51D8-477B-BCCD-905AA3269412}" dt="2021-04-22T12:59:24.410" v="1288" actId="164"/>
          <ac:spMkLst>
            <pc:docMk/>
            <pc:sldMk cId="2303097618" sldId="292"/>
            <ac:spMk id="11" creationId="{14F8BAF8-3EDB-4688-A413-684808B88243}"/>
          </ac:spMkLst>
        </pc:spChg>
        <pc:spChg chg="mod topLvl">
          <ac:chgData name="Frederick King" userId="bb732f183fe92d5e" providerId="LiveId" clId="{67E6E49F-51D8-477B-BCCD-905AA3269412}" dt="2021-04-22T12:59:24.410" v="1288" actId="164"/>
          <ac:spMkLst>
            <pc:docMk/>
            <pc:sldMk cId="2303097618" sldId="292"/>
            <ac:spMk id="12" creationId="{45A8EC2A-C2A6-40CB-B5D5-EC7CAE1416F0}"/>
          </ac:spMkLst>
        </pc:spChg>
        <pc:spChg chg="mod topLvl">
          <ac:chgData name="Frederick King" userId="bb732f183fe92d5e" providerId="LiveId" clId="{67E6E49F-51D8-477B-BCCD-905AA3269412}" dt="2021-04-22T12:59:24.410" v="1288" actId="164"/>
          <ac:spMkLst>
            <pc:docMk/>
            <pc:sldMk cId="2303097618" sldId="292"/>
            <ac:spMk id="13" creationId="{AB094A94-8235-4756-978E-0A6C9CD12452}"/>
          </ac:spMkLst>
        </pc:spChg>
        <pc:spChg chg="mod topLvl">
          <ac:chgData name="Frederick King" userId="bb732f183fe92d5e" providerId="LiveId" clId="{67E6E49F-51D8-477B-BCCD-905AA3269412}" dt="2021-04-22T12:59:24.410" v="1288" actId="164"/>
          <ac:spMkLst>
            <pc:docMk/>
            <pc:sldMk cId="2303097618" sldId="292"/>
            <ac:spMk id="15" creationId="{4CB6F23B-F721-4644-82BF-03B33CA64AF7}"/>
          </ac:spMkLst>
        </pc:spChg>
        <pc:spChg chg="mod topLvl">
          <ac:chgData name="Frederick King" userId="bb732f183fe92d5e" providerId="LiveId" clId="{67E6E49F-51D8-477B-BCCD-905AA3269412}" dt="2021-04-22T12:59:24.410" v="1288" actId="164"/>
          <ac:spMkLst>
            <pc:docMk/>
            <pc:sldMk cId="2303097618" sldId="292"/>
            <ac:spMk id="16" creationId="{69D75087-9A72-4C55-8A19-73D3E8EB045F}"/>
          </ac:spMkLst>
        </pc:spChg>
        <pc:spChg chg="mod topLvl">
          <ac:chgData name="Frederick King" userId="bb732f183fe92d5e" providerId="LiveId" clId="{67E6E49F-51D8-477B-BCCD-905AA3269412}" dt="2021-04-22T12:59:24.410" v="1288" actId="164"/>
          <ac:spMkLst>
            <pc:docMk/>
            <pc:sldMk cId="2303097618" sldId="292"/>
            <ac:spMk id="17" creationId="{82851BF2-E365-43F7-8AE2-1E95F0A0E9C1}"/>
          </ac:spMkLst>
        </pc:spChg>
        <pc:spChg chg="mod topLvl">
          <ac:chgData name="Frederick King" userId="bb732f183fe92d5e" providerId="LiveId" clId="{67E6E49F-51D8-477B-BCCD-905AA3269412}" dt="2021-04-22T12:59:24.410" v="1288" actId="164"/>
          <ac:spMkLst>
            <pc:docMk/>
            <pc:sldMk cId="2303097618" sldId="292"/>
            <ac:spMk id="18" creationId="{E1FC6F48-4333-47AA-A669-6236954C1993}"/>
          </ac:spMkLst>
        </pc:spChg>
        <pc:spChg chg="mod topLvl">
          <ac:chgData name="Frederick King" userId="bb732f183fe92d5e" providerId="LiveId" clId="{67E6E49F-51D8-477B-BCCD-905AA3269412}" dt="2021-04-22T12:59:24.410" v="1288" actId="164"/>
          <ac:spMkLst>
            <pc:docMk/>
            <pc:sldMk cId="2303097618" sldId="292"/>
            <ac:spMk id="20" creationId="{DBE3531E-0E60-4BE6-AEDF-F5E93C638815}"/>
          </ac:spMkLst>
        </pc:spChg>
        <pc:spChg chg="del mod topLvl">
          <ac:chgData name="Frederick King" userId="bb732f183fe92d5e" providerId="LiveId" clId="{67E6E49F-51D8-477B-BCCD-905AA3269412}" dt="2021-04-22T12:57:44.305" v="1261" actId="478"/>
          <ac:spMkLst>
            <pc:docMk/>
            <pc:sldMk cId="2303097618" sldId="292"/>
            <ac:spMk id="21" creationId="{3F669D55-BBC0-4474-BC50-F4A75B32E8F6}"/>
          </ac:spMkLst>
        </pc:spChg>
        <pc:spChg chg="del mod topLvl">
          <ac:chgData name="Frederick King" userId="bb732f183fe92d5e" providerId="LiveId" clId="{67E6E49F-51D8-477B-BCCD-905AA3269412}" dt="2021-04-22T12:57:44.305" v="1261" actId="478"/>
          <ac:spMkLst>
            <pc:docMk/>
            <pc:sldMk cId="2303097618" sldId="292"/>
            <ac:spMk id="22" creationId="{E1BCDB36-8E23-4ABD-893E-AA1393CE7C51}"/>
          </ac:spMkLst>
        </pc:spChg>
        <pc:spChg chg="del mod topLvl">
          <ac:chgData name="Frederick King" userId="bb732f183fe92d5e" providerId="LiveId" clId="{67E6E49F-51D8-477B-BCCD-905AA3269412}" dt="2021-04-22T12:56:48.113" v="1213" actId="478"/>
          <ac:spMkLst>
            <pc:docMk/>
            <pc:sldMk cId="2303097618" sldId="292"/>
            <ac:spMk id="23" creationId="{5CEAC4A7-8C5F-4BE8-9AD4-A316C8F77FEE}"/>
          </ac:spMkLst>
        </pc:spChg>
        <pc:spChg chg="del mod topLvl">
          <ac:chgData name="Frederick King" userId="bb732f183fe92d5e" providerId="LiveId" clId="{67E6E49F-51D8-477B-BCCD-905AA3269412}" dt="2021-04-22T12:57:44.305" v="1261" actId="478"/>
          <ac:spMkLst>
            <pc:docMk/>
            <pc:sldMk cId="2303097618" sldId="292"/>
            <ac:spMk id="24" creationId="{4E3F6956-AF47-4FDB-9172-EAF5677BEF0B}"/>
          </ac:spMkLst>
        </pc:spChg>
        <pc:grpChg chg="add del mod">
          <ac:chgData name="Frederick King" userId="bb732f183fe92d5e" providerId="LiveId" clId="{67E6E49F-51D8-477B-BCCD-905AA3269412}" dt="2021-04-22T12:32:03.969" v="16" actId="165"/>
          <ac:grpSpMkLst>
            <pc:docMk/>
            <pc:sldMk cId="2303097618" sldId="292"/>
            <ac:grpSpMk id="3" creationId="{34352386-567D-49E0-B2D6-7C775E137142}"/>
          </ac:grpSpMkLst>
        </pc:grpChg>
        <pc:grpChg chg="add del mod topLvl">
          <ac:chgData name="Frederick King" userId="bb732f183fe92d5e" providerId="LiveId" clId="{67E6E49F-51D8-477B-BCCD-905AA3269412}" dt="2021-04-22T12:32:04.197" v="17" actId="165"/>
          <ac:grpSpMkLst>
            <pc:docMk/>
            <pc:sldMk cId="2303097618" sldId="292"/>
            <ac:grpSpMk id="8" creationId="{E39425D1-788F-456B-B148-1E3F7EC2D26D}"/>
          </ac:grpSpMkLst>
        </pc:grpChg>
        <pc:grpChg chg="add del mod">
          <ac:chgData name="Frederick King" userId="bb732f183fe92d5e" providerId="LiveId" clId="{67E6E49F-51D8-477B-BCCD-905AA3269412}" dt="2021-04-22T12:56:27.115" v="1191" actId="165"/>
          <ac:grpSpMkLst>
            <pc:docMk/>
            <pc:sldMk cId="2303097618" sldId="292"/>
            <ac:grpSpMk id="25" creationId="{C8788BB7-91CA-4F65-8B03-858214D68AE5}"/>
          </ac:grpSpMkLst>
        </pc:grpChg>
        <pc:grpChg chg="add mod">
          <ac:chgData name="Frederick King" userId="bb732f183fe92d5e" providerId="LiveId" clId="{67E6E49F-51D8-477B-BCCD-905AA3269412}" dt="2021-04-22T12:59:24.410" v="1288" actId="164"/>
          <ac:grpSpMkLst>
            <pc:docMk/>
            <pc:sldMk cId="2303097618" sldId="292"/>
            <ac:grpSpMk id="26" creationId="{D740FAC4-6884-4C76-96B9-9B3E0D4F8123}"/>
          </ac:grpSpMkLst>
        </pc:grpChg>
        <pc:graphicFrameChg chg="del">
          <ac:chgData name="Frederick King" userId="bb732f183fe92d5e" providerId="LiveId" clId="{67E6E49F-51D8-477B-BCCD-905AA3269412}" dt="2021-04-22T12:27:37.711" v="5" actId="478"/>
          <ac:graphicFrameMkLst>
            <pc:docMk/>
            <pc:sldMk cId="2303097618" sldId="292"/>
            <ac:graphicFrameMk id="4" creationId="{2F7E9A6B-20DE-4DF5-A60B-9FDF382781D5}"/>
          </ac:graphicFrameMkLst>
        </pc:graphicFrameChg>
        <pc:cxnChg chg="del mod topLvl">
          <ac:chgData name="Frederick King" userId="bb732f183fe92d5e" providerId="LiveId" clId="{67E6E49F-51D8-477B-BCCD-905AA3269412}" dt="2021-04-22T12:32:18.278" v="20" actId="478"/>
          <ac:cxnSpMkLst>
            <pc:docMk/>
            <pc:sldMk cId="2303097618" sldId="292"/>
            <ac:cxnSpMk id="14" creationId="{C7EC7BA9-38FA-4585-A5B9-F67CA8606BEA}"/>
          </ac:cxnSpMkLst>
        </pc:cxnChg>
        <pc:cxnChg chg="del mod topLvl">
          <ac:chgData name="Frederick King" userId="bb732f183fe92d5e" providerId="LiveId" clId="{67E6E49F-51D8-477B-BCCD-905AA3269412}" dt="2021-04-22T12:32:18.278" v="20" actId="478"/>
          <ac:cxnSpMkLst>
            <pc:docMk/>
            <pc:sldMk cId="2303097618" sldId="292"/>
            <ac:cxnSpMk id="19" creationId="{642B85DC-165D-46C6-9A0B-FC86262BCA5D}"/>
          </ac:cxnSpMkLst>
        </pc:cxnChg>
      </pc:sldChg>
      <pc:sldChg chg="addSp delSp modSp add mod">
        <pc:chgData name="Frederick King" userId="bb732f183fe92d5e" providerId="LiveId" clId="{67E6E49F-51D8-477B-BCCD-905AA3269412}" dt="2021-04-22T12:55:39.119" v="1190" actId="20577"/>
        <pc:sldMkLst>
          <pc:docMk/>
          <pc:sldMk cId="2676254712" sldId="293"/>
        </pc:sldMkLst>
        <pc:spChg chg="mod">
          <ac:chgData name="Frederick King" userId="bb732f183fe92d5e" providerId="LiveId" clId="{67E6E49F-51D8-477B-BCCD-905AA3269412}" dt="2021-04-22T12:45:57.662" v="649" actId="20577"/>
          <ac:spMkLst>
            <pc:docMk/>
            <pc:sldMk cId="2676254712" sldId="293"/>
            <ac:spMk id="2" creationId="{53D57545-5140-4A3C-9D72-E83217B177FF}"/>
          </ac:spMkLst>
        </pc:spChg>
        <pc:spChg chg="del">
          <ac:chgData name="Frederick King" userId="bb732f183fe92d5e" providerId="LiveId" clId="{67E6E49F-51D8-477B-BCCD-905AA3269412}" dt="2021-04-22T12:41:42.621" v="293" actId="478"/>
          <ac:spMkLst>
            <pc:docMk/>
            <pc:sldMk cId="2676254712" sldId="293"/>
            <ac:spMk id="4" creationId="{476288C4-1A4D-44FB-9D4B-2220D896AD21}"/>
          </ac:spMkLst>
        </pc:spChg>
        <pc:spChg chg="del">
          <ac:chgData name="Frederick King" userId="bb732f183fe92d5e" providerId="LiveId" clId="{67E6E49F-51D8-477B-BCCD-905AA3269412}" dt="2021-04-22T12:41:42.621" v="293" actId="478"/>
          <ac:spMkLst>
            <pc:docMk/>
            <pc:sldMk cId="2676254712" sldId="293"/>
            <ac:spMk id="6" creationId="{776A35D8-BE86-4782-A228-D7504F264ADE}"/>
          </ac:spMkLst>
        </pc:spChg>
        <pc:spChg chg="del">
          <ac:chgData name="Frederick King" userId="bb732f183fe92d5e" providerId="LiveId" clId="{67E6E49F-51D8-477B-BCCD-905AA3269412}" dt="2021-04-22T12:41:42.621" v="293" actId="478"/>
          <ac:spMkLst>
            <pc:docMk/>
            <pc:sldMk cId="2676254712" sldId="293"/>
            <ac:spMk id="14" creationId="{F92632D8-0A0C-4E9A-B412-2B5F2A29D7EA}"/>
          </ac:spMkLst>
        </pc:spChg>
        <pc:spChg chg="del">
          <ac:chgData name="Frederick King" userId="bb732f183fe92d5e" providerId="LiveId" clId="{67E6E49F-51D8-477B-BCCD-905AA3269412}" dt="2021-04-22T12:41:42.621" v="293" actId="478"/>
          <ac:spMkLst>
            <pc:docMk/>
            <pc:sldMk cId="2676254712" sldId="293"/>
            <ac:spMk id="16" creationId="{5183802D-E9ED-4B08-9B06-91A42A6CF9F3}"/>
          </ac:spMkLst>
        </pc:spChg>
        <pc:spChg chg="del">
          <ac:chgData name="Frederick King" userId="bb732f183fe92d5e" providerId="LiveId" clId="{67E6E49F-51D8-477B-BCCD-905AA3269412}" dt="2021-04-22T12:41:42.621" v="293" actId="478"/>
          <ac:spMkLst>
            <pc:docMk/>
            <pc:sldMk cId="2676254712" sldId="293"/>
            <ac:spMk id="18" creationId="{04F6D685-970E-47B8-9972-7140EC350C5D}"/>
          </ac:spMkLst>
        </pc:spChg>
        <pc:spChg chg="del">
          <ac:chgData name="Frederick King" userId="bb732f183fe92d5e" providerId="LiveId" clId="{67E6E49F-51D8-477B-BCCD-905AA3269412}" dt="2021-04-22T12:41:42.621" v="293" actId="478"/>
          <ac:spMkLst>
            <pc:docMk/>
            <pc:sldMk cId="2676254712" sldId="293"/>
            <ac:spMk id="24" creationId="{63146DCD-2E36-4527-871D-C324E56E002E}"/>
          </ac:spMkLst>
        </pc:spChg>
        <pc:spChg chg="del">
          <ac:chgData name="Frederick King" userId="bb732f183fe92d5e" providerId="LiveId" clId="{67E6E49F-51D8-477B-BCCD-905AA3269412}" dt="2021-04-22T12:41:42.621" v="293" actId="478"/>
          <ac:spMkLst>
            <pc:docMk/>
            <pc:sldMk cId="2676254712" sldId="293"/>
            <ac:spMk id="25" creationId="{52FCB073-43BC-444B-B1F4-BD1FFD070FD7}"/>
          </ac:spMkLst>
        </pc:spChg>
        <pc:grpChg chg="del">
          <ac:chgData name="Frederick King" userId="bb732f183fe92d5e" providerId="LiveId" clId="{67E6E49F-51D8-477B-BCCD-905AA3269412}" dt="2021-04-22T12:41:42.621" v="293" actId="478"/>
          <ac:grpSpMkLst>
            <pc:docMk/>
            <pc:sldMk cId="2676254712" sldId="293"/>
            <ac:grpSpMk id="3" creationId="{A3CE13D6-695B-4064-A9A8-75454E1F2C62}"/>
          </ac:grpSpMkLst>
        </pc:grpChg>
        <pc:graphicFrameChg chg="add mod modGraphic">
          <ac:chgData name="Frederick King" userId="bb732f183fe92d5e" providerId="LiveId" clId="{67E6E49F-51D8-477B-BCCD-905AA3269412}" dt="2021-04-22T12:55:39.119" v="1190" actId="20577"/>
          <ac:graphicFrameMkLst>
            <pc:docMk/>
            <pc:sldMk cId="2676254712" sldId="293"/>
            <ac:graphicFrameMk id="21" creationId="{A9BF97C6-8F94-49E3-9934-B4C7E3805545}"/>
          </ac:graphicFrameMkLst>
        </pc:graphicFrameChg>
        <pc:cxnChg chg="del">
          <ac:chgData name="Frederick King" userId="bb732f183fe92d5e" providerId="LiveId" clId="{67E6E49F-51D8-477B-BCCD-905AA3269412}" dt="2021-04-22T12:41:42.621" v="293" actId="478"/>
          <ac:cxnSpMkLst>
            <pc:docMk/>
            <pc:sldMk cId="2676254712" sldId="293"/>
            <ac:cxnSpMk id="8" creationId="{BBE91C8D-C016-4027-A56A-6287023E23DB}"/>
          </ac:cxnSpMkLst>
        </pc:cxnChg>
        <pc:cxnChg chg="del">
          <ac:chgData name="Frederick King" userId="bb732f183fe92d5e" providerId="LiveId" clId="{67E6E49F-51D8-477B-BCCD-905AA3269412}" dt="2021-04-22T12:41:42.621" v="293" actId="478"/>
          <ac:cxnSpMkLst>
            <pc:docMk/>
            <pc:sldMk cId="2676254712" sldId="293"/>
            <ac:cxnSpMk id="9" creationId="{27D7B754-8F86-4E60-AD69-4CFF1DB24711}"/>
          </ac:cxnSpMkLst>
        </pc:cxnChg>
      </pc:sldChg>
      <pc:sldChg chg="delSp modSp add mod">
        <pc:chgData name="Frederick King" userId="bb732f183fe92d5e" providerId="LiveId" clId="{67E6E49F-51D8-477B-BCCD-905AA3269412}" dt="2021-04-22T12:52:35.918" v="1080" actId="20577"/>
        <pc:sldMkLst>
          <pc:docMk/>
          <pc:sldMk cId="3577877811" sldId="294"/>
        </pc:sldMkLst>
        <pc:spChg chg="mod">
          <ac:chgData name="Frederick King" userId="bb732f183fe92d5e" providerId="LiveId" clId="{67E6E49F-51D8-477B-BCCD-905AA3269412}" dt="2021-04-22T12:49:42.383" v="811" actId="20577"/>
          <ac:spMkLst>
            <pc:docMk/>
            <pc:sldMk cId="3577877811" sldId="294"/>
            <ac:spMk id="2" creationId="{D6CA93DF-1875-4979-A283-56EBD09394A2}"/>
          </ac:spMkLst>
        </pc:spChg>
        <pc:spChg chg="del">
          <ac:chgData name="Frederick King" userId="bb732f183fe92d5e" providerId="LiveId" clId="{67E6E49F-51D8-477B-BCCD-905AA3269412}" dt="2021-04-22T12:48:28.886" v="712" actId="478"/>
          <ac:spMkLst>
            <pc:docMk/>
            <pc:sldMk cId="3577877811" sldId="294"/>
            <ac:spMk id="6" creationId="{486F835D-6E42-409E-9BCF-62AD4A336141}"/>
          </ac:spMkLst>
        </pc:spChg>
        <pc:graphicFrameChg chg="mod modGraphic">
          <ac:chgData name="Frederick King" userId="bb732f183fe92d5e" providerId="LiveId" clId="{67E6E49F-51D8-477B-BCCD-905AA3269412}" dt="2021-04-22T12:52:35.918" v="1080" actId="20577"/>
          <ac:graphicFrameMkLst>
            <pc:docMk/>
            <pc:sldMk cId="3577877811" sldId="294"/>
            <ac:graphicFrameMk id="4" creationId="{A255111F-496F-4798-A548-F91A1EEA191C}"/>
          </ac:graphicFrameMkLst>
        </pc:graphicFrameChg>
      </pc:sldChg>
      <pc:sldChg chg="addSp delSp modSp new mod">
        <pc:chgData name="Frederick King" userId="bb732f183fe92d5e" providerId="LiveId" clId="{67E6E49F-51D8-477B-BCCD-905AA3269412}" dt="2021-05-07T07:37:51.699" v="1462" actId="12789"/>
        <pc:sldMkLst>
          <pc:docMk/>
          <pc:sldMk cId="3477824456" sldId="295"/>
        </pc:sldMkLst>
        <pc:spChg chg="del">
          <ac:chgData name="Frederick King" userId="bb732f183fe92d5e" providerId="LiveId" clId="{67E6E49F-51D8-477B-BCCD-905AA3269412}" dt="2021-05-07T07:29:53.748" v="1457" actId="478"/>
          <ac:spMkLst>
            <pc:docMk/>
            <pc:sldMk cId="3477824456" sldId="295"/>
            <ac:spMk id="2" creationId="{2A6CBD43-27EA-43A5-89BB-C5D8E94A4063}"/>
          </ac:spMkLst>
        </pc:spChg>
        <pc:picChg chg="add mod">
          <ac:chgData name="Frederick King" userId="bb732f183fe92d5e" providerId="LiveId" clId="{67E6E49F-51D8-477B-BCCD-905AA3269412}" dt="2021-05-07T07:37:51.699" v="1462" actId="12789"/>
          <ac:picMkLst>
            <pc:docMk/>
            <pc:sldMk cId="3477824456" sldId="295"/>
            <ac:picMk id="4" creationId="{FA136BED-8294-447D-AAFD-E8096C35A7F0}"/>
          </ac:picMkLst>
        </pc:picChg>
      </pc:sldChg>
      <pc:sldChg chg="addSp delSp modSp new mod">
        <pc:chgData name="Frederick King" userId="bb732f183fe92d5e" providerId="LiveId" clId="{67E6E49F-51D8-477B-BCCD-905AA3269412}" dt="2021-05-07T08:06:09.607" v="1739" actId="114"/>
        <pc:sldMkLst>
          <pc:docMk/>
          <pc:sldMk cId="4093805697" sldId="296"/>
        </pc:sldMkLst>
        <pc:spChg chg="del">
          <ac:chgData name="Frederick King" userId="bb732f183fe92d5e" providerId="LiveId" clId="{67E6E49F-51D8-477B-BCCD-905AA3269412}" dt="2021-05-07T07:45:29.484" v="1468" actId="478"/>
          <ac:spMkLst>
            <pc:docMk/>
            <pc:sldMk cId="4093805697" sldId="296"/>
            <ac:spMk id="2" creationId="{0CC839C5-7280-4869-9B01-2BC196A95C11}"/>
          </ac:spMkLst>
        </pc:spChg>
        <pc:spChg chg="add del">
          <ac:chgData name="Frederick King" userId="bb732f183fe92d5e" providerId="LiveId" clId="{67E6E49F-51D8-477B-BCCD-905AA3269412}" dt="2021-05-07T07:48:13.476" v="1470" actId="478"/>
          <ac:spMkLst>
            <pc:docMk/>
            <pc:sldMk cId="4093805697" sldId="296"/>
            <ac:spMk id="3" creationId="{C59526E8-310A-4E47-AFD4-27DCCD0B5BB1}"/>
          </ac:spMkLst>
        </pc:spChg>
        <pc:spChg chg="add mod">
          <ac:chgData name="Frederick King" userId="bb732f183fe92d5e" providerId="LiveId" clId="{67E6E49F-51D8-477B-BCCD-905AA3269412}" dt="2021-05-07T08:06:09.607" v="1739" actId="114"/>
          <ac:spMkLst>
            <pc:docMk/>
            <pc:sldMk cId="4093805697" sldId="296"/>
            <ac:spMk id="5" creationId="{28F20F95-7F03-440B-B47C-B1F7B4508CB0}"/>
          </ac:spMkLst>
        </pc:spChg>
        <pc:picChg chg="add mod modCrop">
          <ac:chgData name="Frederick King" userId="bb732f183fe92d5e" providerId="LiveId" clId="{67E6E49F-51D8-477B-BCCD-905AA3269412}" dt="2021-05-07T08:02:56.825" v="1718" actId="1038"/>
          <ac:picMkLst>
            <pc:docMk/>
            <pc:sldMk cId="4093805697" sldId="296"/>
            <ac:picMk id="7" creationId="{5CAC8028-CF08-4D12-A9AC-19B866BC42EC}"/>
          </ac:picMkLst>
        </pc:picChg>
      </pc:sldChg>
      <pc:sldChg chg="addSp delSp modSp add mod">
        <pc:chgData name="Frederick King" userId="bb732f183fe92d5e" providerId="LiveId" clId="{67E6E49F-51D8-477B-BCCD-905AA3269412}" dt="2021-05-07T08:33:00.215" v="2704" actId="20577"/>
        <pc:sldMkLst>
          <pc:docMk/>
          <pc:sldMk cId="2207912012" sldId="297"/>
        </pc:sldMkLst>
        <pc:spChg chg="mod">
          <ac:chgData name="Frederick King" userId="bb732f183fe92d5e" providerId="LiveId" clId="{67E6E49F-51D8-477B-BCCD-905AA3269412}" dt="2021-05-07T08:22:35.333" v="1957" actId="20577"/>
          <ac:spMkLst>
            <pc:docMk/>
            <pc:sldMk cId="2207912012" sldId="297"/>
            <ac:spMk id="2" creationId="{88395490-5244-46CE-8656-58BB910011B6}"/>
          </ac:spMkLst>
        </pc:spChg>
        <pc:spChg chg="add mod">
          <ac:chgData name="Frederick King" userId="bb732f183fe92d5e" providerId="LiveId" clId="{67E6E49F-51D8-477B-BCCD-905AA3269412}" dt="2021-05-07T08:26:04.177" v="2146" actId="1582"/>
          <ac:spMkLst>
            <pc:docMk/>
            <pc:sldMk cId="2207912012" sldId="297"/>
            <ac:spMk id="5" creationId="{08C2C988-9297-4C46-807E-B7CD3697ECF4}"/>
          </ac:spMkLst>
        </pc:spChg>
        <pc:spChg chg="del">
          <ac:chgData name="Frederick King" userId="bb732f183fe92d5e" providerId="LiveId" clId="{67E6E49F-51D8-477B-BCCD-905AA3269412}" dt="2021-05-07T08:14:10.276" v="1789" actId="478"/>
          <ac:spMkLst>
            <pc:docMk/>
            <pc:sldMk cId="2207912012" sldId="297"/>
            <ac:spMk id="12" creationId="{6B4E6A59-8262-4253-AB22-7648EA0F5B4D}"/>
          </ac:spMkLst>
        </pc:spChg>
        <pc:spChg chg="add del mod">
          <ac:chgData name="Frederick King" userId="bb732f183fe92d5e" providerId="LiveId" clId="{67E6E49F-51D8-477B-BCCD-905AA3269412}" dt="2021-05-07T08:17:54.498" v="1826" actId="478"/>
          <ac:spMkLst>
            <pc:docMk/>
            <pc:sldMk cId="2207912012" sldId="297"/>
            <ac:spMk id="21" creationId="{3655EFAC-1275-4DA4-83CA-5E27B1C35AB2}"/>
          </ac:spMkLst>
        </pc:spChg>
        <pc:spChg chg="del">
          <ac:chgData name="Frederick King" userId="bb732f183fe92d5e" providerId="LiveId" clId="{67E6E49F-51D8-477B-BCCD-905AA3269412}" dt="2021-05-07T08:14:10.276" v="1789" actId="478"/>
          <ac:spMkLst>
            <pc:docMk/>
            <pc:sldMk cId="2207912012" sldId="297"/>
            <ac:spMk id="22" creationId="{6703BB92-6762-4767-8955-ED638C0D0550}"/>
          </ac:spMkLst>
        </pc:spChg>
        <pc:spChg chg="del">
          <ac:chgData name="Frederick King" userId="bb732f183fe92d5e" providerId="LiveId" clId="{67E6E49F-51D8-477B-BCCD-905AA3269412}" dt="2021-05-07T08:14:10.276" v="1789" actId="478"/>
          <ac:spMkLst>
            <pc:docMk/>
            <pc:sldMk cId="2207912012" sldId="297"/>
            <ac:spMk id="23" creationId="{D00D13BA-8EE0-4366-B91D-48F1D733F001}"/>
          </ac:spMkLst>
        </pc:spChg>
        <pc:spChg chg="del">
          <ac:chgData name="Frederick King" userId="bb732f183fe92d5e" providerId="LiveId" clId="{67E6E49F-51D8-477B-BCCD-905AA3269412}" dt="2021-05-07T08:14:10.276" v="1789" actId="478"/>
          <ac:spMkLst>
            <pc:docMk/>
            <pc:sldMk cId="2207912012" sldId="297"/>
            <ac:spMk id="24" creationId="{20AAF006-BDFE-4E07-84A3-A41A46463147}"/>
          </ac:spMkLst>
        </pc:spChg>
        <pc:spChg chg="del">
          <ac:chgData name="Frederick King" userId="bb732f183fe92d5e" providerId="LiveId" clId="{67E6E49F-51D8-477B-BCCD-905AA3269412}" dt="2021-05-07T08:14:10.276" v="1789" actId="478"/>
          <ac:spMkLst>
            <pc:docMk/>
            <pc:sldMk cId="2207912012" sldId="297"/>
            <ac:spMk id="25" creationId="{23EF1F92-17C3-4E32-90B2-5699F41B3F1E}"/>
          </ac:spMkLst>
        </pc:spChg>
        <pc:spChg chg="del">
          <ac:chgData name="Frederick King" userId="bb732f183fe92d5e" providerId="LiveId" clId="{67E6E49F-51D8-477B-BCCD-905AA3269412}" dt="2021-05-07T08:14:10.276" v="1789" actId="478"/>
          <ac:spMkLst>
            <pc:docMk/>
            <pc:sldMk cId="2207912012" sldId="297"/>
            <ac:spMk id="26" creationId="{2CAD8ED4-5BC7-4875-8205-457D5E09F4C8}"/>
          </ac:spMkLst>
        </pc:spChg>
        <pc:spChg chg="del">
          <ac:chgData name="Frederick King" userId="bb732f183fe92d5e" providerId="LiveId" clId="{67E6E49F-51D8-477B-BCCD-905AA3269412}" dt="2021-05-07T08:14:10.276" v="1789" actId="478"/>
          <ac:spMkLst>
            <pc:docMk/>
            <pc:sldMk cId="2207912012" sldId="297"/>
            <ac:spMk id="27" creationId="{0F64A8B2-546A-4B22-B212-B35733BAFDC6}"/>
          </ac:spMkLst>
        </pc:spChg>
        <pc:spChg chg="del">
          <ac:chgData name="Frederick King" userId="bb732f183fe92d5e" providerId="LiveId" clId="{67E6E49F-51D8-477B-BCCD-905AA3269412}" dt="2021-05-07T08:14:10.276" v="1789" actId="478"/>
          <ac:spMkLst>
            <pc:docMk/>
            <pc:sldMk cId="2207912012" sldId="297"/>
            <ac:spMk id="28" creationId="{82FB4926-915E-46F8-A58B-C44CE8303F0D}"/>
          </ac:spMkLst>
        </pc:spChg>
        <pc:spChg chg="del">
          <ac:chgData name="Frederick King" userId="bb732f183fe92d5e" providerId="LiveId" clId="{67E6E49F-51D8-477B-BCCD-905AA3269412}" dt="2021-05-07T08:14:10.276" v="1789" actId="478"/>
          <ac:spMkLst>
            <pc:docMk/>
            <pc:sldMk cId="2207912012" sldId="297"/>
            <ac:spMk id="29" creationId="{259A7D61-E646-45E7-A5DE-847367729D3B}"/>
          </ac:spMkLst>
        </pc:spChg>
        <pc:spChg chg="add mod">
          <ac:chgData name="Frederick King" userId="bb732f183fe92d5e" providerId="LiveId" clId="{67E6E49F-51D8-477B-BCCD-905AA3269412}" dt="2021-05-07T08:33:00.215" v="2704" actId="20577"/>
          <ac:spMkLst>
            <pc:docMk/>
            <pc:sldMk cId="2207912012" sldId="297"/>
            <ac:spMk id="31" creationId="{B5894445-A5C1-4F82-93BC-F1DE96638F73}"/>
          </ac:spMkLst>
        </pc:spChg>
        <pc:spChg chg="mod">
          <ac:chgData name="Frederick King" userId="bb732f183fe92d5e" providerId="LiveId" clId="{67E6E49F-51D8-477B-BCCD-905AA3269412}" dt="2021-05-07T08:14:19.391" v="1818" actId="20577"/>
          <ac:spMkLst>
            <pc:docMk/>
            <pc:sldMk cId="2207912012" sldId="297"/>
            <ac:spMk id="32" creationId="{8142A767-5FA3-4CA0-9772-B34606F310B9}"/>
          </ac:spMkLst>
        </pc:spChg>
        <pc:spChg chg="add mod">
          <ac:chgData name="Frederick King" userId="bb732f183fe92d5e" providerId="LiveId" clId="{67E6E49F-51D8-477B-BCCD-905AA3269412}" dt="2021-05-07T08:32:27.694" v="2680" actId="14100"/>
          <ac:spMkLst>
            <pc:docMk/>
            <pc:sldMk cId="2207912012" sldId="297"/>
            <ac:spMk id="34" creationId="{CE1D094A-71CA-44E0-8D5F-DF12D0372CA1}"/>
          </ac:spMkLst>
        </pc:spChg>
        <pc:picChg chg="add mod modCrop">
          <ac:chgData name="Frederick King" userId="bb732f183fe92d5e" providerId="LiveId" clId="{67E6E49F-51D8-477B-BCCD-905AA3269412}" dt="2021-05-07T08:32:15.516" v="2677" actId="12788"/>
          <ac:picMkLst>
            <pc:docMk/>
            <pc:sldMk cId="2207912012" sldId="297"/>
            <ac:picMk id="4" creationId="{010414C7-2559-46AF-AA47-1B2AD459B5E8}"/>
          </ac:picMkLst>
        </pc:picChg>
        <pc:picChg chg="add mod modCrop">
          <ac:chgData name="Frederick King" userId="bb732f183fe92d5e" providerId="LiveId" clId="{67E6E49F-51D8-477B-BCCD-905AA3269412}" dt="2021-05-07T08:32:15.516" v="2677" actId="12788"/>
          <ac:picMkLst>
            <pc:docMk/>
            <pc:sldMk cId="2207912012" sldId="297"/>
            <ac:picMk id="8" creationId="{74451ADB-5179-4D06-B315-4D14746C2399}"/>
          </ac:picMkLst>
        </pc:picChg>
        <pc:cxnChg chg="del">
          <ac:chgData name="Frederick King" userId="bb732f183fe92d5e" providerId="LiveId" clId="{67E6E49F-51D8-477B-BCCD-905AA3269412}" dt="2021-05-07T08:14:10.276" v="1789" actId="478"/>
          <ac:cxnSpMkLst>
            <pc:docMk/>
            <pc:sldMk cId="2207912012" sldId="297"/>
            <ac:cxnSpMk id="14" creationId="{B48B5023-1C8F-4E6A-A4A1-3EAC5544CD20}"/>
          </ac:cxnSpMkLst>
        </pc:cxnChg>
        <pc:cxnChg chg="del">
          <ac:chgData name="Frederick King" userId="bb732f183fe92d5e" providerId="LiveId" clId="{67E6E49F-51D8-477B-BCCD-905AA3269412}" dt="2021-05-07T08:14:10.276" v="1789" actId="478"/>
          <ac:cxnSpMkLst>
            <pc:docMk/>
            <pc:sldMk cId="2207912012" sldId="297"/>
            <ac:cxnSpMk id="15" creationId="{ACF49084-10BE-47BE-BA81-14A68F71692A}"/>
          </ac:cxnSpMkLst>
        </pc:cxnChg>
        <pc:cxnChg chg="del">
          <ac:chgData name="Frederick King" userId="bb732f183fe92d5e" providerId="LiveId" clId="{67E6E49F-51D8-477B-BCCD-905AA3269412}" dt="2021-05-07T08:14:10.276" v="1789" actId="478"/>
          <ac:cxnSpMkLst>
            <pc:docMk/>
            <pc:sldMk cId="2207912012" sldId="297"/>
            <ac:cxnSpMk id="16" creationId="{BE3FE625-EC7A-4899-A67A-B9869B84044A}"/>
          </ac:cxnSpMkLst>
        </pc:cxnChg>
        <pc:cxnChg chg="del">
          <ac:chgData name="Frederick King" userId="bb732f183fe92d5e" providerId="LiveId" clId="{67E6E49F-51D8-477B-BCCD-905AA3269412}" dt="2021-05-07T08:14:10.276" v="1789" actId="478"/>
          <ac:cxnSpMkLst>
            <pc:docMk/>
            <pc:sldMk cId="2207912012" sldId="297"/>
            <ac:cxnSpMk id="17" creationId="{1EC4B2B9-7936-427B-86D5-5D9F7DBBFA22}"/>
          </ac:cxnSpMkLst>
        </pc:cxnChg>
        <pc:cxnChg chg="del">
          <ac:chgData name="Frederick King" userId="bb732f183fe92d5e" providerId="LiveId" clId="{67E6E49F-51D8-477B-BCCD-905AA3269412}" dt="2021-05-07T08:14:10.276" v="1789" actId="478"/>
          <ac:cxnSpMkLst>
            <pc:docMk/>
            <pc:sldMk cId="2207912012" sldId="297"/>
            <ac:cxnSpMk id="18" creationId="{71B3A066-77B8-40F9-B6AD-9EB21E4DEA9E}"/>
          </ac:cxnSpMkLst>
        </pc:cxnChg>
        <pc:cxnChg chg="del">
          <ac:chgData name="Frederick King" userId="bb732f183fe92d5e" providerId="LiveId" clId="{67E6E49F-51D8-477B-BCCD-905AA3269412}" dt="2021-05-07T08:14:10.276" v="1789" actId="478"/>
          <ac:cxnSpMkLst>
            <pc:docMk/>
            <pc:sldMk cId="2207912012" sldId="297"/>
            <ac:cxnSpMk id="33" creationId="{9ADD31FF-97D5-46B9-97C6-D81C6195AF0E}"/>
          </ac:cxnSpMkLst>
        </pc:cxnChg>
      </pc:sldChg>
      <pc:sldChg chg="del">
        <pc:chgData name="Frederick King" userId="bb732f183fe92d5e" providerId="LiveId" clId="{67E6E49F-51D8-477B-BCCD-905AA3269412}" dt="2021-05-07T08:16:10.973" v="1819"/>
        <pc:sldMkLst>
          <pc:docMk/>
          <pc:sldMk cId="404769619" sldId="298"/>
        </pc:sldMkLst>
      </pc:sldChg>
      <pc:sldChg chg="delSp new del mod">
        <pc:chgData name="Frederick King" userId="bb732f183fe92d5e" providerId="LiveId" clId="{67E6E49F-51D8-477B-BCCD-905AA3269412}" dt="2021-05-07T08:31:32.407" v="2669" actId="47"/>
        <pc:sldMkLst>
          <pc:docMk/>
          <pc:sldMk cId="782977721" sldId="298"/>
        </pc:sldMkLst>
        <pc:spChg chg="del">
          <ac:chgData name="Frederick King" userId="bb732f183fe92d5e" providerId="LiveId" clId="{67E6E49F-51D8-477B-BCCD-905AA3269412}" dt="2021-05-07T08:31:16.900" v="2668" actId="478"/>
          <ac:spMkLst>
            <pc:docMk/>
            <pc:sldMk cId="782977721" sldId="298"/>
            <ac:spMk id="2" creationId="{51C912D6-EF4E-4B69-AC7D-344D9B3E0B35}"/>
          </ac:spMkLst>
        </pc:spChg>
      </pc:sldChg>
      <pc:sldChg chg="del">
        <pc:chgData name="Frederick King" userId="bb732f183fe92d5e" providerId="LiveId" clId="{67E6E49F-51D8-477B-BCCD-905AA3269412}" dt="2021-05-07T08:16:58.375" v="1820"/>
        <pc:sldMkLst>
          <pc:docMk/>
          <pc:sldMk cId="3357612260" sldId="298"/>
        </pc:sldMkLst>
      </pc:sldChg>
      <pc:sldMasterChg chg="modSp mod">
        <pc:chgData name="Frederick King" userId="bb732f183fe92d5e" providerId="LiveId" clId="{67E6E49F-51D8-477B-BCCD-905AA3269412}" dt="2021-05-07T07:44:56.143" v="1464" actId="207"/>
        <pc:sldMasterMkLst>
          <pc:docMk/>
          <pc:sldMasterMk cId="1747802691" sldId="2147483648"/>
        </pc:sldMasterMkLst>
        <pc:spChg chg="mod">
          <ac:chgData name="Frederick King" userId="bb732f183fe92d5e" providerId="LiveId" clId="{67E6E49F-51D8-477B-BCCD-905AA3269412}" dt="2021-05-07T07:44:56.143" v="1464" actId="207"/>
          <ac:spMkLst>
            <pc:docMk/>
            <pc:sldMasterMk cId="1747802691" sldId="2147483648"/>
            <ac:spMk id="23" creationId="{22D79698-1342-4767-8943-EC0BBE00DCE0}"/>
          </ac:spMkLst>
        </pc:spChg>
      </pc:sldMasterChg>
    </pc:docChg>
  </pc:docChgLst>
  <pc:docChgLst>
    <pc:chgData name="Frederick" userId="bb732f183fe92d5e" providerId="LiveId" clId="{43349F25-1AA8-48B6-B15D-870CD0E086F1}"/>
    <pc:docChg chg="undo custSel addSld delSld modSld modHandout">
      <pc:chgData name="Frederick" userId="bb732f183fe92d5e" providerId="LiveId" clId="{43349F25-1AA8-48B6-B15D-870CD0E086F1}" dt="2020-11-14T18:56:44.174" v="2200" actId="20577"/>
      <pc:docMkLst>
        <pc:docMk/>
      </pc:docMkLst>
      <pc:sldChg chg="del">
        <pc:chgData name="Frederick" userId="bb732f183fe92d5e" providerId="LiveId" clId="{43349F25-1AA8-48B6-B15D-870CD0E086F1}" dt="2020-11-05T12:13:46.040" v="0" actId="47"/>
        <pc:sldMkLst>
          <pc:docMk/>
          <pc:sldMk cId="2660260691" sldId="261"/>
        </pc:sldMkLst>
      </pc:sldChg>
      <pc:sldChg chg="modSp mod">
        <pc:chgData name="Frederick" userId="bb732f183fe92d5e" providerId="LiveId" clId="{43349F25-1AA8-48B6-B15D-870CD0E086F1}" dt="2020-11-05T12:17:01.659" v="26" actId="20577"/>
        <pc:sldMkLst>
          <pc:docMk/>
          <pc:sldMk cId="3109751073" sldId="268"/>
        </pc:sldMkLst>
        <pc:spChg chg="mod">
          <ac:chgData name="Frederick" userId="bb732f183fe92d5e" providerId="LiveId" clId="{43349F25-1AA8-48B6-B15D-870CD0E086F1}" dt="2020-11-05T12:17:01.659" v="26" actId="20577"/>
          <ac:spMkLst>
            <pc:docMk/>
            <pc:sldMk cId="3109751073" sldId="268"/>
            <ac:spMk id="19" creationId="{AAF9F837-8854-4798-8929-5E4034B962A7}"/>
          </ac:spMkLst>
        </pc:spChg>
      </pc:sldChg>
      <pc:sldChg chg="addSp delSp modSp add mod">
        <pc:chgData name="Frederick" userId="bb732f183fe92d5e" providerId="LiveId" clId="{43349F25-1AA8-48B6-B15D-870CD0E086F1}" dt="2020-11-14T18:54:51.968" v="2145" actId="20577"/>
        <pc:sldMkLst>
          <pc:docMk/>
          <pc:sldMk cId="2351287908" sldId="269"/>
        </pc:sldMkLst>
        <pc:spChg chg="del mod ord">
          <ac:chgData name="Frederick" userId="bb732f183fe92d5e" providerId="LiveId" clId="{43349F25-1AA8-48B6-B15D-870CD0E086F1}" dt="2020-11-13T10:45:23.039" v="114" actId="478"/>
          <ac:spMkLst>
            <pc:docMk/>
            <pc:sldMk cId="2351287908" sldId="269"/>
            <ac:spMk id="2" creationId="{7781B8E5-10F1-462B-8144-98474CBD7E29}"/>
          </ac:spMkLst>
        </pc:spChg>
        <pc:spChg chg="add mod ord">
          <ac:chgData name="Frederick" userId="bb732f183fe92d5e" providerId="LiveId" clId="{43349F25-1AA8-48B6-B15D-870CD0E086F1}" dt="2020-11-13T10:42:40.289" v="103" actId="208"/>
          <ac:spMkLst>
            <pc:docMk/>
            <pc:sldMk cId="2351287908" sldId="269"/>
            <ac:spMk id="3" creationId="{21C6F757-1A23-4CC2-BEAD-9F4AFCF290E0}"/>
          </ac:spMkLst>
        </pc:spChg>
        <pc:spChg chg="add del mod ord modVis">
          <ac:chgData name="Frederick" userId="bb732f183fe92d5e" providerId="LiveId" clId="{43349F25-1AA8-48B6-B15D-870CD0E086F1}" dt="2020-11-13T10:42:16.448" v="96"/>
          <ac:spMkLst>
            <pc:docMk/>
            <pc:sldMk cId="2351287908" sldId="269"/>
            <ac:spMk id="5" creationId="{7E298614-333A-47CA-A4D4-13270E97220E}"/>
          </ac:spMkLst>
        </pc:spChg>
        <pc:spChg chg="add del mod">
          <ac:chgData name="Frederick" userId="bb732f183fe92d5e" providerId="LiveId" clId="{43349F25-1AA8-48B6-B15D-870CD0E086F1}" dt="2020-11-13T10:45:32.147" v="117" actId="478"/>
          <ac:spMkLst>
            <pc:docMk/>
            <pc:sldMk cId="2351287908" sldId="269"/>
            <ac:spMk id="7" creationId="{C7591702-1CF2-41D9-96C9-4C39EDB4C0C1}"/>
          </ac:spMkLst>
        </pc:spChg>
        <pc:spChg chg="mod topLvl">
          <ac:chgData name="Frederick" userId="bb732f183fe92d5e" providerId="LiveId" clId="{43349F25-1AA8-48B6-B15D-870CD0E086F1}" dt="2020-11-13T10:43:14.675" v="105" actId="165"/>
          <ac:spMkLst>
            <pc:docMk/>
            <pc:sldMk cId="2351287908" sldId="269"/>
            <ac:spMk id="21" creationId="{18B214FB-3F56-4E2A-858B-5A9C8922725F}"/>
          </ac:spMkLst>
        </pc:spChg>
        <pc:spChg chg="mod topLvl">
          <ac:chgData name="Frederick" userId="bb732f183fe92d5e" providerId="LiveId" clId="{43349F25-1AA8-48B6-B15D-870CD0E086F1}" dt="2020-11-13T10:43:04.149" v="104" actId="165"/>
          <ac:spMkLst>
            <pc:docMk/>
            <pc:sldMk cId="2351287908" sldId="269"/>
            <ac:spMk id="25" creationId="{4F7E9342-076C-4D54-9036-2B25C2614605}"/>
          </ac:spMkLst>
        </pc:spChg>
        <pc:spChg chg="mod topLvl">
          <ac:chgData name="Frederick" userId="bb732f183fe92d5e" providerId="LiveId" clId="{43349F25-1AA8-48B6-B15D-870CD0E086F1}" dt="2020-11-13T10:43:04.149" v="104" actId="165"/>
          <ac:spMkLst>
            <pc:docMk/>
            <pc:sldMk cId="2351287908" sldId="269"/>
            <ac:spMk id="27" creationId="{F833485A-57D9-435E-B3FD-45EADBA802D9}"/>
          </ac:spMkLst>
        </pc:spChg>
        <pc:spChg chg="mod topLvl">
          <ac:chgData name="Frederick" userId="bb732f183fe92d5e" providerId="LiveId" clId="{43349F25-1AA8-48B6-B15D-870CD0E086F1}" dt="2020-11-13T10:43:04.149" v="104" actId="165"/>
          <ac:spMkLst>
            <pc:docMk/>
            <pc:sldMk cId="2351287908" sldId="269"/>
            <ac:spMk id="29" creationId="{47318649-5CFD-4325-ADB5-CD9F4D29550E}"/>
          </ac:spMkLst>
        </pc:spChg>
        <pc:spChg chg="mod topLvl">
          <ac:chgData name="Frederick" userId="bb732f183fe92d5e" providerId="LiveId" clId="{43349F25-1AA8-48B6-B15D-870CD0E086F1}" dt="2020-11-13T10:43:04.149" v="104" actId="165"/>
          <ac:spMkLst>
            <pc:docMk/>
            <pc:sldMk cId="2351287908" sldId="269"/>
            <ac:spMk id="31" creationId="{500D79F4-F731-4735-8FDF-ED31DC7FF617}"/>
          </ac:spMkLst>
        </pc:spChg>
        <pc:spChg chg="mod topLvl">
          <ac:chgData name="Frederick" userId="bb732f183fe92d5e" providerId="LiveId" clId="{43349F25-1AA8-48B6-B15D-870CD0E086F1}" dt="2020-11-13T10:43:04.149" v="104" actId="165"/>
          <ac:spMkLst>
            <pc:docMk/>
            <pc:sldMk cId="2351287908" sldId="269"/>
            <ac:spMk id="38" creationId="{570FF3FC-F7C5-44E8-9CD2-04B7F152E81B}"/>
          </ac:spMkLst>
        </pc:spChg>
        <pc:spChg chg="mod topLvl">
          <ac:chgData name="Frederick" userId="bb732f183fe92d5e" providerId="LiveId" clId="{43349F25-1AA8-48B6-B15D-870CD0E086F1}" dt="2020-11-13T10:43:04.149" v="104" actId="165"/>
          <ac:spMkLst>
            <pc:docMk/>
            <pc:sldMk cId="2351287908" sldId="269"/>
            <ac:spMk id="40" creationId="{415DEBD6-3445-4AFC-9A10-01CFCF36EA4C}"/>
          </ac:spMkLst>
        </pc:spChg>
        <pc:spChg chg="mod topLvl">
          <ac:chgData name="Frederick" userId="bb732f183fe92d5e" providerId="LiveId" clId="{43349F25-1AA8-48B6-B15D-870CD0E086F1}" dt="2020-11-13T10:43:04.149" v="104" actId="165"/>
          <ac:spMkLst>
            <pc:docMk/>
            <pc:sldMk cId="2351287908" sldId="269"/>
            <ac:spMk id="42" creationId="{22B7B757-2BC6-420D-8987-3F0354C4D3DB}"/>
          </ac:spMkLst>
        </pc:spChg>
        <pc:spChg chg="mod topLvl">
          <ac:chgData name="Frederick" userId="bb732f183fe92d5e" providerId="LiveId" clId="{43349F25-1AA8-48B6-B15D-870CD0E086F1}" dt="2020-11-13T10:43:04.149" v="104" actId="165"/>
          <ac:spMkLst>
            <pc:docMk/>
            <pc:sldMk cId="2351287908" sldId="269"/>
            <ac:spMk id="44" creationId="{5E995BA9-96E8-479F-B9CA-1A47D9A9B7C7}"/>
          </ac:spMkLst>
        </pc:spChg>
        <pc:spChg chg="mod topLvl">
          <ac:chgData name="Frederick" userId="bb732f183fe92d5e" providerId="LiveId" clId="{43349F25-1AA8-48B6-B15D-870CD0E086F1}" dt="2020-11-13T10:43:14.675" v="105" actId="165"/>
          <ac:spMkLst>
            <pc:docMk/>
            <pc:sldMk cId="2351287908" sldId="269"/>
            <ac:spMk id="46" creationId="{262AD893-2DE1-49FB-A1F8-AB2A4AEFAF8A}"/>
          </ac:spMkLst>
        </pc:spChg>
        <pc:spChg chg="mod topLvl">
          <ac:chgData name="Frederick" userId="bb732f183fe92d5e" providerId="LiveId" clId="{43349F25-1AA8-48B6-B15D-870CD0E086F1}" dt="2020-11-13T10:43:04.149" v="104" actId="165"/>
          <ac:spMkLst>
            <pc:docMk/>
            <pc:sldMk cId="2351287908" sldId="269"/>
            <ac:spMk id="50" creationId="{F967E6B2-3334-4083-988B-8A3FCA974A0D}"/>
          </ac:spMkLst>
        </pc:spChg>
        <pc:spChg chg="mod topLvl">
          <ac:chgData name="Frederick" userId="bb732f183fe92d5e" providerId="LiveId" clId="{43349F25-1AA8-48B6-B15D-870CD0E086F1}" dt="2020-11-13T10:43:04.149" v="104" actId="165"/>
          <ac:spMkLst>
            <pc:docMk/>
            <pc:sldMk cId="2351287908" sldId="269"/>
            <ac:spMk id="52" creationId="{ABEE5FAF-1273-4921-9D97-08109E9299E4}"/>
          </ac:spMkLst>
        </pc:spChg>
        <pc:spChg chg="mod topLvl">
          <ac:chgData name="Frederick" userId="bb732f183fe92d5e" providerId="LiveId" clId="{43349F25-1AA8-48B6-B15D-870CD0E086F1}" dt="2020-11-13T10:43:04.149" v="104" actId="165"/>
          <ac:spMkLst>
            <pc:docMk/>
            <pc:sldMk cId="2351287908" sldId="269"/>
            <ac:spMk id="54" creationId="{B368A5DE-610A-4440-8D24-3E0E90E265A8}"/>
          </ac:spMkLst>
        </pc:spChg>
        <pc:spChg chg="mod topLvl">
          <ac:chgData name="Frederick" userId="bb732f183fe92d5e" providerId="LiveId" clId="{43349F25-1AA8-48B6-B15D-870CD0E086F1}" dt="2020-11-13T10:43:04.149" v="104" actId="165"/>
          <ac:spMkLst>
            <pc:docMk/>
            <pc:sldMk cId="2351287908" sldId="269"/>
            <ac:spMk id="56" creationId="{6ECAE49B-49B5-44DB-851B-D6E8E5D6DD39}"/>
          </ac:spMkLst>
        </pc:spChg>
        <pc:spChg chg="mod topLvl">
          <ac:chgData name="Frederick" userId="bb732f183fe92d5e" providerId="LiveId" clId="{43349F25-1AA8-48B6-B15D-870CD0E086F1}" dt="2020-11-13T10:43:14.675" v="105" actId="165"/>
          <ac:spMkLst>
            <pc:docMk/>
            <pc:sldMk cId="2351287908" sldId="269"/>
            <ac:spMk id="58" creationId="{75D58FBE-7262-4AD3-94D7-EEE9D8CC8061}"/>
          </ac:spMkLst>
        </pc:spChg>
        <pc:spChg chg="mod topLvl">
          <ac:chgData name="Frederick" userId="bb732f183fe92d5e" providerId="LiveId" clId="{43349F25-1AA8-48B6-B15D-870CD0E086F1}" dt="2020-11-13T10:43:04.149" v="104" actId="165"/>
          <ac:spMkLst>
            <pc:docMk/>
            <pc:sldMk cId="2351287908" sldId="269"/>
            <ac:spMk id="62" creationId="{E3D2C36B-E47E-44D0-8378-86698D2C6742}"/>
          </ac:spMkLst>
        </pc:spChg>
        <pc:spChg chg="mod topLvl">
          <ac:chgData name="Frederick" userId="bb732f183fe92d5e" providerId="LiveId" clId="{43349F25-1AA8-48B6-B15D-870CD0E086F1}" dt="2020-11-13T10:43:04.149" v="104" actId="165"/>
          <ac:spMkLst>
            <pc:docMk/>
            <pc:sldMk cId="2351287908" sldId="269"/>
            <ac:spMk id="64" creationId="{AC52331A-3640-4433-9985-D0E554866DC1}"/>
          </ac:spMkLst>
        </pc:spChg>
        <pc:spChg chg="mod topLvl">
          <ac:chgData name="Frederick" userId="bb732f183fe92d5e" providerId="LiveId" clId="{43349F25-1AA8-48B6-B15D-870CD0E086F1}" dt="2020-11-13T10:43:04.149" v="104" actId="165"/>
          <ac:spMkLst>
            <pc:docMk/>
            <pc:sldMk cId="2351287908" sldId="269"/>
            <ac:spMk id="66" creationId="{0C56D8C7-1EB6-46C5-B660-B04CFF5A882D}"/>
          </ac:spMkLst>
        </pc:spChg>
        <pc:spChg chg="mod topLvl">
          <ac:chgData name="Frederick" userId="bb732f183fe92d5e" providerId="LiveId" clId="{43349F25-1AA8-48B6-B15D-870CD0E086F1}" dt="2020-11-13T10:43:04.149" v="104" actId="165"/>
          <ac:spMkLst>
            <pc:docMk/>
            <pc:sldMk cId="2351287908" sldId="269"/>
            <ac:spMk id="68" creationId="{77BE63CA-418D-4765-BBBD-FEEE3C3CA747}"/>
          </ac:spMkLst>
        </pc:spChg>
        <pc:spChg chg="mod topLvl">
          <ac:chgData name="Frederick" userId="bb732f183fe92d5e" providerId="LiveId" clId="{43349F25-1AA8-48B6-B15D-870CD0E086F1}" dt="2020-11-14T18:54:51.968" v="2145" actId="20577"/>
          <ac:spMkLst>
            <pc:docMk/>
            <pc:sldMk cId="2351287908" sldId="269"/>
            <ac:spMk id="70" creationId="{BD8E9A55-BA7E-43F6-92BA-44701D0D9523}"/>
          </ac:spMkLst>
        </pc:spChg>
        <pc:spChg chg="mod topLvl">
          <ac:chgData name="Frederick" userId="bb732f183fe92d5e" providerId="LiveId" clId="{43349F25-1AA8-48B6-B15D-870CD0E086F1}" dt="2020-11-13T10:43:04.149" v="104" actId="165"/>
          <ac:spMkLst>
            <pc:docMk/>
            <pc:sldMk cId="2351287908" sldId="269"/>
            <ac:spMk id="74" creationId="{523A4B2F-D5EB-4D75-8D68-ED5582D039A5}"/>
          </ac:spMkLst>
        </pc:spChg>
        <pc:spChg chg="mod topLvl">
          <ac:chgData name="Frederick" userId="bb732f183fe92d5e" providerId="LiveId" clId="{43349F25-1AA8-48B6-B15D-870CD0E086F1}" dt="2020-11-13T10:43:04.149" v="104" actId="165"/>
          <ac:spMkLst>
            <pc:docMk/>
            <pc:sldMk cId="2351287908" sldId="269"/>
            <ac:spMk id="76" creationId="{E9C36504-7903-4EF4-8529-2EFB2583CCD8}"/>
          </ac:spMkLst>
        </pc:spChg>
        <pc:spChg chg="mod topLvl">
          <ac:chgData name="Frederick" userId="bb732f183fe92d5e" providerId="LiveId" clId="{43349F25-1AA8-48B6-B15D-870CD0E086F1}" dt="2020-11-13T10:43:04.149" v="104" actId="165"/>
          <ac:spMkLst>
            <pc:docMk/>
            <pc:sldMk cId="2351287908" sldId="269"/>
            <ac:spMk id="78" creationId="{759DBB4E-D593-4C2A-81A0-1A892B3DD2C7}"/>
          </ac:spMkLst>
        </pc:spChg>
        <pc:spChg chg="mod topLvl">
          <ac:chgData name="Frederick" userId="bb732f183fe92d5e" providerId="LiveId" clId="{43349F25-1AA8-48B6-B15D-870CD0E086F1}" dt="2020-11-13T10:43:04.149" v="104" actId="165"/>
          <ac:spMkLst>
            <pc:docMk/>
            <pc:sldMk cId="2351287908" sldId="269"/>
            <ac:spMk id="80" creationId="{43C50064-121E-4D6A-A44C-9B6A5C05ACE2}"/>
          </ac:spMkLst>
        </pc:spChg>
        <pc:spChg chg="mod topLvl">
          <ac:chgData name="Frederick" userId="bb732f183fe92d5e" providerId="LiveId" clId="{43349F25-1AA8-48B6-B15D-870CD0E086F1}" dt="2020-11-13T10:43:14.675" v="105" actId="165"/>
          <ac:spMkLst>
            <pc:docMk/>
            <pc:sldMk cId="2351287908" sldId="269"/>
            <ac:spMk id="82" creationId="{EB029431-8705-450C-B990-B1AC884EF044}"/>
          </ac:spMkLst>
        </pc:spChg>
        <pc:spChg chg="mod topLvl">
          <ac:chgData name="Frederick" userId="bb732f183fe92d5e" providerId="LiveId" clId="{43349F25-1AA8-48B6-B15D-870CD0E086F1}" dt="2020-11-13T10:43:04.149" v="104" actId="165"/>
          <ac:spMkLst>
            <pc:docMk/>
            <pc:sldMk cId="2351287908" sldId="269"/>
            <ac:spMk id="87" creationId="{086C1382-0905-4620-AE95-0FA2816113D1}"/>
          </ac:spMkLst>
        </pc:spChg>
        <pc:spChg chg="mod topLvl">
          <ac:chgData name="Frederick" userId="bb732f183fe92d5e" providerId="LiveId" clId="{43349F25-1AA8-48B6-B15D-870CD0E086F1}" dt="2020-11-13T10:43:04.149" v="104" actId="165"/>
          <ac:spMkLst>
            <pc:docMk/>
            <pc:sldMk cId="2351287908" sldId="269"/>
            <ac:spMk id="89" creationId="{911931EE-4449-4CCB-ACF8-E1030EDE64BD}"/>
          </ac:spMkLst>
        </pc:spChg>
        <pc:spChg chg="mod topLvl">
          <ac:chgData name="Frederick" userId="bb732f183fe92d5e" providerId="LiveId" clId="{43349F25-1AA8-48B6-B15D-870CD0E086F1}" dt="2020-11-13T10:43:04.149" v="104" actId="165"/>
          <ac:spMkLst>
            <pc:docMk/>
            <pc:sldMk cId="2351287908" sldId="269"/>
            <ac:spMk id="91" creationId="{F735D81D-84F7-4E22-A75C-2C44173FD5F8}"/>
          </ac:spMkLst>
        </pc:spChg>
        <pc:spChg chg="mod topLvl">
          <ac:chgData name="Frederick" userId="bb732f183fe92d5e" providerId="LiveId" clId="{43349F25-1AA8-48B6-B15D-870CD0E086F1}" dt="2020-11-13T10:43:04.149" v="104" actId="165"/>
          <ac:spMkLst>
            <pc:docMk/>
            <pc:sldMk cId="2351287908" sldId="269"/>
            <ac:spMk id="93" creationId="{B0AF5CA1-EF57-40B1-9D1C-8A3B701856B2}"/>
          </ac:spMkLst>
        </pc:spChg>
        <pc:spChg chg="mod topLvl">
          <ac:chgData name="Frederick" userId="bb732f183fe92d5e" providerId="LiveId" clId="{43349F25-1AA8-48B6-B15D-870CD0E086F1}" dt="2020-11-13T10:43:14.675" v="105" actId="165"/>
          <ac:spMkLst>
            <pc:docMk/>
            <pc:sldMk cId="2351287908" sldId="269"/>
            <ac:spMk id="95" creationId="{8E104201-4671-4EF1-A257-0BF6B663B739}"/>
          </ac:spMkLst>
        </pc:spChg>
        <pc:spChg chg="mod topLvl">
          <ac:chgData name="Frederick" userId="bb732f183fe92d5e" providerId="LiveId" clId="{43349F25-1AA8-48B6-B15D-870CD0E086F1}" dt="2020-11-13T10:43:04.149" v="104" actId="165"/>
          <ac:spMkLst>
            <pc:docMk/>
            <pc:sldMk cId="2351287908" sldId="269"/>
            <ac:spMk id="99" creationId="{A2C2A6E9-6D38-4E86-ABE7-511AC1C23B49}"/>
          </ac:spMkLst>
        </pc:spChg>
        <pc:spChg chg="mod topLvl">
          <ac:chgData name="Frederick" userId="bb732f183fe92d5e" providerId="LiveId" clId="{43349F25-1AA8-48B6-B15D-870CD0E086F1}" dt="2020-11-13T10:43:04.149" v="104" actId="165"/>
          <ac:spMkLst>
            <pc:docMk/>
            <pc:sldMk cId="2351287908" sldId="269"/>
            <ac:spMk id="101" creationId="{FB2E163B-8A30-4DA5-9088-CE26DB2A067F}"/>
          </ac:spMkLst>
        </pc:spChg>
        <pc:spChg chg="mod topLvl">
          <ac:chgData name="Frederick" userId="bb732f183fe92d5e" providerId="LiveId" clId="{43349F25-1AA8-48B6-B15D-870CD0E086F1}" dt="2020-11-13T10:56:15.741" v="725" actId="6549"/>
          <ac:spMkLst>
            <pc:docMk/>
            <pc:sldMk cId="2351287908" sldId="269"/>
            <ac:spMk id="103" creationId="{3CAB8D30-084E-4D46-82D2-7BBDC387F7E0}"/>
          </ac:spMkLst>
        </pc:spChg>
        <pc:spChg chg="mod topLvl">
          <ac:chgData name="Frederick" userId="bb732f183fe92d5e" providerId="LiveId" clId="{43349F25-1AA8-48B6-B15D-870CD0E086F1}" dt="2020-11-13T10:43:04.149" v="104" actId="165"/>
          <ac:spMkLst>
            <pc:docMk/>
            <pc:sldMk cId="2351287908" sldId="269"/>
            <ac:spMk id="105" creationId="{0BE94A22-F5A7-46A5-B035-2FC8EC30467A}"/>
          </ac:spMkLst>
        </pc:spChg>
        <pc:spChg chg="mod topLvl">
          <ac:chgData name="Frederick" userId="bb732f183fe92d5e" providerId="LiveId" clId="{43349F25-1AA8-48B6-B15D-870CD0E086F1}" dt="2020-11-13T10:43:14.675" v="105" actId="165"/>
          <ac:spMkLst>
            <pc:docMk/>
            <pc:sldMk cId="2351287908" sldId="269"/>
            <ac:spMk id="107" creationId="{A28DA0E1-44A7-4FC3-A365-1577A87DFF3D}"/>
          </ac:spMkLst>
        </pc:spChg>
        <pc:spChg chg="mod topLvl">
          <ac:chgData name="Frederick" userId="bb732f183fe92d5e" providerId="LiveId" clId="{43349F25-1AA8-48B6-B15D-870CD0E086F1}" dt="2020-11-13T10:43:04.149" v="104" actId="165"/>
          <ac:spMkLst>
            <pc:docMk/>
            <pc:sldMk cId="2351287908" sldId="269"/>
            <ac:spMk id="111" creationId="{AD2C150E-C46A-42EF-B146-1F08841A8A53}"/>
          </ac:spMkLst>
        </pc:spChg>
        <pc:spChg chg="mod topLvl">
          <ac:chgData name="Frederick" userId="bb732f183fe92d5e" providerId="LiveId" clId="{43349F25-1AA8-48B6-B15D-870CD0E086F1}" dt="2020-11-13T10:43:04.149" v="104" actId="165"/>
          <ac:spMkLst>
            <pc:docMk/>
            <pc:sldMk cId="2351287908" sldId="269"/>
            <ac:spMk id="113" creationId="{9D1561BA-78BA-4273-A85C-C5AE57D9C93C}"/>
          </ac:spMkLst>
        </pc:spChg>
        <pc:spChg chg="mod topLvl">
          <ac:chgData name="Frederick" userId="bb732f183fe92d5e" providerId="LiveId" clId="{43349F25-1AA8-48B6-B15D-870CD0E086F1}" dt="2020-11-13T10:43:04.149" v="104" actId="165"/>
          <ac:spMkLst>
            <pc:docMk/>
            <pc:sldMk cId="2351287908" sldId="269"/>
            <ac:spMk id="115" creationId="{2D9A53EC-100E-4BB8-B1E5-6C5C81B83912}"/>
          </ac:spMkLst>
        </pc:spChg>
        <pc:spChg chg="mod topLvl">
          <ac:chgData name="Frederick" userId="bb732f183fe92d5e" providerId="LiveId" clId="{43349F25-1AA8-48B6-B15D-870CD0E086F1}" dt="2020-11-13T10:43:04.149" v="104" actId="165"/>
          <ac:spMkLst>
            <pc:docMk/>
            <pc:sldMk cId="2351287908" sldId="269"/>
            <ac:spMk id="117" creationId="{9DE393B4-5550-4173-BB10-A15260A15719}"/>
          </ac:spMkLst>
        </pc:spChg>
        <pc:spChg chg="mod topLvl">
          <ac:chgData name="Frederick" userId="bb732f183fe92d5e" providerId="LiveId" clId="{43349F25-1AA8-48B6-B15D-870CD0E086F1}" dt="2020-11-13T10:43:14.675" v="105" actId="165"/>
          <ac:spMkLst>
            <pc:docMk/>
            <pc:sldMk cId="2351287908" sldId="269"/>
            <ac:spMk id="119" creationId="{73B4ADD4-4A3C-4C07-AD80-C2DBC8730520}"/>
          </ac:spMkLst>
        </pc:spChg>
        <pc:spChg chg="mod topLvl">
          <ac:chgData name="Frederick" userId="bb732f183fe92d5e" providerId="LiveId" clId="{43349F25-1AA8-48B6-B15D-870CD0E086F1}" dt="2020-11-13T10:43:04.149" v="104" actId="165"/>
          <ac:spMkLst>
            <pc:docMk/>
            <pc:sldMk cId="2351287908" sldId="269"/>
            <ac:spMk id="123" creationId="{4007BF7F-0E40-4769-BA64-A1F07180DBF5}"/>
          </ac:spMkLst>
        </pc:spChg>
        <pc:spChg chg="mod topLvl">
          <ac:chgData name="Frederick" userId="bb732f183fe92d5e" providerId="LiveId" clId="{43349F25-1AA8-48B6-B15D-870CD0E086F1}" dt="2020-11-13T11:09:35.643" v="1417" actId="20577"/>
          <ac:spMkLst>
            <pc:docMk/>
            <pc:sldMk cId="2351287908" sldId="269"/>
            <ac:spMk id="125" creationId="{04508B79-27FB-4883-8D55-0456198F2C83}"/>
          </ac:spMkLst>
        </pc:spChg>
        <pc:spChg chg="mod topLvl">
          <ac:chgData name="Frederick" userId="bb732f183fe92d5e" providerId="LiveId" clId="{43349F25-1AA8-48B6-B15D-870CD0E086F1}" dt="2020-11-13T10:43:04.149" v="104" actId="165"/>
          <ac:spMkLst>
            <pc:docMk/>
            <pc:sldMk cId="2351287908" sldId="269"/>
            <ac:spMk id="127" creationId="{836D0F36-063C-411D-9BEF-107535B65FC7}"/>
          </ac:spMkLst>
        </pc:spChg>
        <pc:spChg chg="mod topLvl">
          <ac:chgData name="Frederick" userId="bb732f183fe92d5e" providerId="LiveId" clId="{43349F25-1AA8-48B6-B15D-870CD0E086F1}" dt="2020-11-13T10:43:04.149" v="104" actId="165"/>
          <ac:spMkLst>
            <pc:docMk/>
            <pc:sldMk cId="2351287908" sldId="269"/>
            <ac:spMk id="129" creationId="{24D5146E-0EBC-4A09-A142-6105017359B8}"/>
          </ac:spMkLst>
        </pc:spChg>
        <pc:spChg chg="mod topLvl">
          <ac:chgData name="Frederick" userId="bb732f183fe92d5e" providerId="LiveId" clId="{43349F25-1AA8-48B6-B15D-870CD0E086F1}" dt="2020-11-13T10:43:14.675" v="105" actId="165"/>
          <ac:spMkLst>
            <pc:docMk/>
            <pc:sldMk cId="2351287908" sldId="269"/>
            <ac:spMk id="131" creationId="{C1589BDF-957E-4CB6-AFB4-60A676D371DE}"/>
          </ac:spMkLst>
        </pc:spChg>
        <pc:spChg chg="mod topLvl">
          <ac:chgData name="Frederick" userId="bb732f183fe92d5e" providerId="LiveId" clId="{43349F25-1AA8-48B6-B15D-870CD0E086F1}" dt="2020-11-13T10:43:04.149" v="104" actId="165"/>
          <ac:spMkLst>
            <pc:docMk/>
            <pc:sldMk cId="2351287908" sldId="269"/>
            <ac:spMk id="135" creationId="{BC863C98-34D7-4605-BC0C-904EB135FEA9}"/>
          </ac:spMkLst>
        </pc:spChg>
        <pc:spChg chg="mod topLvl">
          <ac:chgData name="Frederick" userId="bb732f183fe92d5e" providerId="LiveId" clId="{43349F25-1AA8-48B6-B15D-870CD0E086F1}" dt="2020-11-13T10:43:04.149" v="104" actId="165"/>
          <ac:spMkLst>
            <pc:docMk/>
            <pc:sldMk cId="2351287908" sldId="269"/>
            <ac:spMk id="137" creationId="{28A59CEE-B5A9-4388-8763-0E842FBF6AC5}"/>
          </ac:spMkLst>
        </pc:spChg>
        <pc:spChg chg="mod topLvl">
          <ac:chgData name="Frederick" userId="bb732f183fe92d5e" providerId="LiveId" clId="{43349F25-1AA8-48B6-B15D-870CD0E086F1}" dt="2020-11-13T10:43:04.149" v="104" actId="165"/>
          <ac:spMkLst>
            <pc:docMk/>
            <pc:sldMk cId="2351287908" sldId="269"/>
            <ac:spMk id="139" creationId="{E146392B-732A-4809-92DE-29057570BB71}"/>
          </ac:spMkLst>
        </pc:spChg>
        <pc:spChg chg="mod topLvl">
          <ac:chgData name="Frederick" userId="bb732f183fe92d5e" providerId="LiveId" clId="{43349F25-1AA8-48B6-B15D-870CD0E086F1}" dt="2020-11-13T10:43:04.149" v="104" actId="165"/>
          <ac:spMkLst>
            <pc:docMk/>
            <pc:sldMk cId="2351287908" sldId="269"/>
            <ac:spMk id="141" creationId="{4397FB22-E347-4195-AE1D-03338A3505E3}"/>
          </ac:spMkLst>
        </pc:spChg>
        <pc:spChg chg="mod topLvl">
          <ac:chgData name="Frederick" userId="bb732f183fe92d5e" providerId="LiveId" clId="{43349F25-1AA8-48B6-B15D-870CD0E086F1}" dt="2020-11-13T10:43:14.675" v="105" actId="165"/>
          <ac:spMkLst>
            <pc:docMk/>
            <pc:sldMk cId="2351287908" sldId="269"/>
            <ac:spMk id="143" creationId="{E55A699D-7F77-44DF-8CE0-D1F0A6F79C70}"/>
          </ac:spMkLst>
        </pc:spChg>
        <pc:grpChg chg="del mod topLvl">
          <ac:chgData name="Frederick" userId="bb732f183fe92d5e" providerId="LiveId" clId="{43349F25-1AA8-48B6-B15D-870CD0E086F1}" dt="2020-11-13T10:43:14.675" v="105" actId="165"/>
          <ac:grpSpMkLst>
            <pc:docMk/>
            <pc:sldMk cId="2351287908" sldId="269"/>
            <ac:grpSpMk id="17" creationId="{76FE38B3-690D-400C-8DC1-B39E1E69FAAC}"/>
          </ac:grpSpMkLst>
        </pc:grpChg>
        <pc:grpChg chg="del mod ord">
          <ac:chgData name="Frederick" userId="bb732f183fe92d5e" providerId="LiveId" clId="{43349F25-1AA8-48B6-B15D-870CD0E086F1}" dt="2020-11-13T10:43:04.149" v="104" actId="165"/>
          <ac:grpSpMkLst>
            <pc:docMk/>
            <pc:sldMk cId="2351287908" sldId="269"/>
            <ac:grpSpMk id="32" creationId="{225DC40C-BAA0-4612-A65C-735901242A41}"/>
          </ac:grpSpMkLst>
        </pc:grpChg>
        <pc:grpChg chg="del mod ord">
          <ac:chgData name="Frederick" userId="bb732f183fe92d5e" providerId="LiveId" clId="{43349F25-1AA8-48B6-B15D-870CD0E086F1}" dt="2020-11-13T10:43:04.149" v="104" actId="165"/>
          <ac:grpSpMkLst>
            <pc:docMk/>
            <pc:sldMk cId="2351287908" sldId="269"/>
            <ac:grpSpMk id="35" creationId="{856708E5-8739-4AB8-B91C-AB319D8E2F32}"/>
          </ac:grpSpMkLst>
        </pc:grpChg>
        <pc:grpChg chg="del mod topLvl">
          <ac:chgData name="Frederick" userId="bb732f183fe92d5e" providerId="LiveId" clId="{43349F25-1AA8-48B6-B15D-870CD0E086F1}" dt="2020-11-13T10:43:14.675" v="105" actId="165"/>
          <ac:grpSpMkLst>
            <pc:docMk/>
            <pc:sldMk cId="2351287908" sldId="269"/>
            <ac:grpSpMk id="36" creationId="{E18C92F8-DB42-46C4-AFEE-E52CCE9568A9}"/>
          </ac:grpSpMkLst>
        </pc:grpChg>
        <pc:grpChg chg="del mod ord">
          <ac:chgData name="Frederick" userId="bb732f183fe92d5e" providerId="LiveId" clId="{43349F25-1AA8-48B6-B15D-870CD0E086F1}" dt="2020-11-13T10:43:04.149" v="104" actId="165"/>
          <ac:grpSpMkLst>
            <pc:docMk/>
            <pc:sldMk cId="2351287908" sldId="269"/>
            <ac:grpSpMk id="47" creationId="{E2E473A8-6E78-4CED-A9F0-2A4A9B22ED7A}"/>
          </ac:grpSpMkLst>
        </pc:grpChg>
        <pc:grpChg chg="del mod topLvl">
          <ac:chgData name="Frederick" userId="bb732f183fe92d5e" providerId="LiveId" clId="{43349F25-1AA8-48B6-B15D-870CD0E086F1}" dt="2020-11-13T10:43:14.675" v="105" actId="165"/>
          <ac:grpSpMkLst>
            <pc:docMk/>
            <pc:sldMk cId="2351287908" sldId="269"/>
            <ac:grpSpMk id="48" creationId="{DDBE1CCD-6C0E-4E13-8289-E5F6C0AD2659}"/>
          </ac:grpSpMkLst>
        </pc:grpChg>
        <pc:grpChg chg="del mod ord">
          <ac:chgData name="Frederick" userId="bb732f183fe92d5e" providerId="LiveId" clId="{43349F25-1AA8-48B6-B15D-870CD0E086F1}" dt="2020-11-13T10:43:04.149" v="104" actId="165"/>
          <ac:grpSpMkLst>
            <pc:docMk/>
            <pc:sldMk cId="2351287908" sldId="269"/>
            <ac:grpSpMk id="59" creationId="{C2B4148C-238B-487A-A0C9-B9ACEE2650FB}"/>
          </ac:grpSpMkLst>
        </pc:grpChg>
        <pc:grpChg chg="del mod topLvl">
          <ac:chgData name="Frederick" userId="bb732f183fe92d5e" providerId="LiveId" clId="{43349F25-1AA8-48B6-B15D-870CD0E086F1}" dt="2020-11-13T10:43:14.675" v="105" actId="165"/>
          <ac:grpSpMkLst>
            <pc:docMk/>
            <pc:sldMk cId="2351287908" sldId="269"/>
            <ac:grpSpMk id="60" creationId="{B9328D47-0A61-49F3-BAB3-7BACE40EB81D}"/>
          </ac:grpSpMkLst>
        </pc:grpChg>
        <pc:grpChg chg="del mod ord">
          <ac:chgData name="Frederick" userId="bb732f183fe92d5e" providerId="LiveId" clId="{43349F25-1AA8-48B6-B15D-870CD0E086F1}" dt="2020-11-13T10:43:04.149" v="104" actId="165"/>
          <ac:grpSpMkLst>
            <pc:docMk/>
            <pc:sldMk cId="2351287908" sldId="269"/>
            <ac:grpSpMk id="71" creationId="{1F0E49E1-F6C9-429E-959A-1C91838AB1B4}"/>
          </ac:grpSpMkLst>
        </pc:grpChg>
        <pc:grpChg chg="del mod topLvl">
          <ac:chgData name="Frederick" userId="bb732f183fe92d5e" providerId="LiveId" clId="{43349F25-1AA8-48B6-B15D-870CD0E086F1}" dt="2020-11-13T10:43:14.675" v="105" actId="165"/>
          <ac:grpSpMkLst>
            <pc:docMk/>
            <pc:sldMk cId="2351287908" sldId="269"/>
            <ac:grpSpMk id="72" creationId="{BE54F2CD-A5C5-490E-A4DF-B6537AC3A858}"/>
          </ac:grpSpMkLst>
        </pc:grpChg>
        <pc:grpChg chg="del mod ord">
          <ac:chgData name="Frederick" userId="bb732f183fe92d5e" providerId="LiveId" clId="{43349F25-1AA8-48B6-B15D-870CD0E086F1}" dt="2020-11-13T10:43:04.149" v="104" actId="165"/>
          <ac:grpSpMkLst>
            <pc:docMk/>
            <pc:sldMk cId="2351287908" sldId="269"/>
            <ac:grpSpMk id="84" creationId="{D7FBAE3C-430F-493D-A710-68BFFC63E0C5}"/>
          </ac:grpSpMkLst>
        </pc:grpChg>
        <pc:grpChg chg="del mod topLvl">
          <ac:chgData name="Frederick" userId="bb732f183fe92d5e" providerId="LiveId" clId="{43349F25-1AA8-48B6-B15D-870CD0E086F1}" dt="2020-11-13T10:43:14.675" v="105" actId="165"/>
          <ac:grpSpMkLst>
            <pc:docMk/>
            <pc:sldMk cId="2351287908" sldId="269"/>
            <ac:grpSpMk id="85" creationId="{EC17A03F-59A5-4B2E-A171-6555E1DD5779}"/>
          </ac:grpSpMkLst>
        </pc:grpChg>
        <pc:grpChg chg="del mod ord">
          <ac:chgData name="Frederick" userId="bb732f183fe92d5e" providerId="LiveId" clId="{43349F25-1AA8-48B6-B15D-870CD0E086F1}" dt="2020-11-13T10:43:04.149" v="104" actId="165"/>
          <ac:grpSpMkLst>
            <pc:docMk/>
            <pc:sldMk cId="2351287908" sldId="269"/>
            <ac:grpSpMk id="96" creationId="{0FFFEEA6-3C12-4224-A850-A61A18DC8693}"/>
          </ac:grpSpMkLst>
        </pc:grpChg>
        <pc:grpChg chg="del mod topLvl">
          <ac:chgData name="Frederick" userId="bb732f183fe92d5e" providerId="LiveId" clId="{43349F25-1AA8-48B6-B15D-870CD0E086F1}" dt="2020-11-13T10:43:14.675" v="105" actId="165"/>
          <ac:grpSpMkLst>
            <pc:docMk/>
            <pc:sldMk cId="2351287908" sldId="269"/>
            <ac:grpSpMk id="97" creationId="{8E079AE7-3835-4F56-A4E0-56279FE9DA4F}"/>
          </ac:grpSpMkLst>
        </pc:grpChg>
        <pc:grpChg chg="del mod ord">
          <ac:chgData name="Frederick" userId="bb732f183fe92d5e" providerId="LiveId" clId="{43349F25-1AA8-48B6-B15D-870CD0E086F1}" dt="2020-11-13T10:43:04.149" v="104" actId="165"/>
          <ac:grpSpMkLst>
            <pc:docMk/>
            <pc:sldMk cId="2351287908" sldId="269"/>
            <ac:grpSpMk id="108" creationId="{559139F7-B691-4507-848C-03CC7C3654AC}"/>
          </ac:grpSpMkLst>
        </pc:grpChg>
        <pc:grpChg chg="del mod topLvl">
          <ac:chgData name="Frederick" userId="bb732f183fe92d5e" providerId="LiveId" clId="{43349F25-1AA8-48B6-B15D-870CD0E086F1}" dt="2020-11-13T10:43:14.675" v="105" actId="165"/>
          <ac:grpSpMkLst>
            <pc:docMk/>
            <pc:sldMk cId="2351287908" sldId="269"/>
            <ac:grpSpMk id="109" creationId="{FCE6AF2D-7B7D-4277-8682-46F11251E035}"/>
          </ac:grpSpMkLst>
        </pc:grpChg>
        <pc:grpChg chg="del mod ord">
          <ac:chgData name="Frederick" userId="bb732f183fe92d5e" providerId="LiveId" clId="{43349F25-1AA8-48B6-B15D-870CD0E086F1}" dt="2020-11-13T10:43:04.149" v="104" actId="165"/>
          <ac:grpSpMkLst>
            <pc:docMk/>
            <pc:sldMk cId="2351287908" sldId="269"/>
            <ac:grpSpMk id="120" creationId="{8E53349F-B3E6-4417-81BA-260A0E447086}"/>
          </ac:grpSpMkLst>
        </pc:grpChg>
        <pc:grpChg chg="del mod topLvl">
          <ac:chgData name="Frederick" userId="bb732f183fe92d5e" providerId="LiveId" clId="{43349F25-1AA8-48B6-B15D-870CD0E086F1}" dt="2020-11-13T10:43:14.675" v="105" actId="165"/>
          <ac:grpSpMkLst>
            <pc:docMk/>
            <pc:sldMk cId="2351287908" sldId="269"/>
            <ac:grpSpMk id="121" creationId="{EBC64EC5-B74F-480D-88DB-69C53C571B39}"/>
          </ac:grpSpMkLst>
        </pc:grpChg>
        <pc:grpChg chg="del mod ord">
          <ac:chgData name="Frederick" userId="bb732f183fe92d5e" providerId="LiveId" clId="{43349F25-1AA8-48B6-B15D-870CD0E086F1}" dt="2020-11-13T10:43:04.149" v="104" actId="165"/>
          <ac:grpSpMkLst>
            <pc:docMk/>
            <pc:sldMk cId="2351287908" sldId="269"/>
            <ac:grpSpMk id="132" creationId="{01E93034-F91D-42B8-A56D-BD43DCE6DC5C}"/>
          </ac:grpSpMkLst>
        </pc:grpChg>
        <pc:grpChg chg="del mod topLvl">
          <ac:chgData name="Frederick" userId="bb732f183fe92d5e" providerId="LiveId" clId="{43349F25-1AA8-48B6-B15D-870CD0E086F1}" dt="2020-11-13T10:43:14.675" v="105" actId="165"/>
          <ac:grpSpMkLst>
            <pc:docMk/>
            <pc:sldMk cId="2351287908" sldId="269"/>
            <ac:grpSpMk id="133" creationId="{6D25EE20-0B51-4283-BF67-C1CB9FF28B56}"/>
          </ac:grpSpMkLst>
        </pc:grpChg>
        <pc:graphicFrameChg chg="mod ord">
          <ac:chgData name="Frederick" userId="bb732f183fe92d5e" providerId="LiveId" clId="{43349F25-1AA8-48B6-B15D-870CD0E086F1}" dt="2020-11-13T10:45:32.681" v="119"/>
          <ac:graphicFrameMkLst>
            <pc:docMk/>
            <pc:sldMk cId="2351287908" sldId="269"/>
            <ac:graphicFrameMk id="4" creationId="{B646F821-314B-4357-97C9-EA1CBEA4F901}"/>
          </ac:graphicFrameMkLst>
        </pc:graphicFrameChg>
        <pc:cxnChg chg="mod topLvl">
          <ac:chgData name="Frederick" userId="bb732f183fe92d5e" providerId="LiveId" clId="{43349F25-1AA8-48B6-B15D-870CD0E086F1}" dt="2020-11-13T10:43:21.264" v="106" actId="208"/>
          <ac:cxnSpMkLst>
            <pc:docMk/>
            <pc:sldMk cId="2351287908" sldId="269"/>
            <ac:cxnSpMk id="18" creationId="{58C86D9C-B657-4DC9-B2C3-5C1F428EF3EA}"/>
          </ac:cxnSpMkLst>
        </pc:cxnChg>
        <pc:cxnChg chg="mod topLvl">
          <ac:chgData name="Frederick" userId="bb732f183fe92d5e" providerId="LiveId" clId="{43349F25-1AA8-48B6-B15D-870CD0E086F1}" dt="2020-11-13T10:43:25.730" v="107" actId="208"/>
          <ac:cxnSpMkLst>
            <pc:docMk/>
            <pc:sldMk cId="2351287908" sldId="269"/>
            <ac:cxnSpMk id="24" creationId="{035717DA-27EE-432E-9BE0-51E7288EC9F6}"/>
          </ac:cxnSpMkLst>
        </pc:cxnChg>
        <pc:cxnChg chg="mod topLvl">
          <ac:chgData name="Frederick" userId="bb732f183fe92d5e" providerId="LiveId" clId="{43349F25-1AA8-48B6-B15D-870CD0E086F1}" dt="2020-11-13T10:43:29.997" v="108" actId="208"/>
          <ac:cxnSpMkLst>
            <pc:docMk/>
            <pc:sldMk cId="2351287908" sldId="269"/>
            <ac:cxnSpMk id="26" creationId="{9F33E28A-4585-48DB-94F2-C3F99970368B}"/>
          </ac:cxnSpMkLst>
        </pc:cxnChg>
        <pc:cxnChg chg="mod topLvl">
          <ac:chgData name="Frederick" userId="bb732f183fe92d5e" providerId="LiveId" clId="{43349F25-1AA8-48B6-B15D-870CD0E086F1}" dt="2020-11-13T10:43:33.322" v="109" actId="208"/>
          <ac:cxnSpMkLst>
            <pc:docMk/>
            <pc:sldMk cId="2351287908" sldId="269"/>
            <ac:cxnSpMk id="28" creationId="{998E624F-88B4-4DF0-81B2-283AA56E37E7}"/>
          </ac:cxnSpMkLst>
        </pc:cxnChg>
        <pc:cxnChg chg="mod topLvl">
          <ac:chgData name="Frederick" userId="bb732f183fe92d5e" providerId="LiveId" clId="{43349F25-1AA8-48B6-B15D-870CD0E086F1}" dt="2020-11-13T11:12:36.826" v="1531" actId="208"/>
          <ac:cxnSpMkLst>
            <pc:docMk/>
            <pc:sldMk cId="2351287908" sldId="269"/>
            <ac:cxnSpMk id="30" creationId="{D105B746-982C-45E9-9A02-6B9E6D571B1A}"/>
          </ac:cxnSpMkLst>
        </pc:cxnChg>
        <pc:cxnChg chg="mod topLvl">
          <ac:chgData name="Frederick" userId="bb732f183fe92d5e" providerId="LiveId" clId="{43349F25-1AA8-48B6-B15D-870CD0E086F1}" dt="2020-11-13T10:43:25.730" v="107" actId="208"/>
          <ac:cxnSpMkLst>
            <pc:docMk/>
            <pc:sldMk cId="2351287908" sldId="269"/>
            <ac:cxnSpMk id="37" creationId="{3D27F832-F4AB-4F70-BD1A-401B50D4087D}"/>
          </ac:cxnSpMkLst>
        </pc:cxnChg>
        <pc:cxnChg chg="mod topLvl">
          <ac:chgData name="Frederick" userId="bb732f183fe92d5e" providerId="LiveId" clId="{43349F25-1AA8-48B6-B15D-870CD0E086F1}" dt="2020-11-13T10:43:29.997" v="108" actId="208"/>
          <ac:cxnSpMkLst>
            <pc:docMk/>
            <pc:sldMk cId="2351287908" sldId="269"/>
            <ac:cxnSpMk id="39" creationId="{EFAB7172-59AB-4E3D-9561-BB127B5DA4AB}"/>
          </ac:cxnSpMkLst>
        </pc:cxnChg>
        <pc:cxnChg chg="mod topLvl">
          <ac:chgData name="Frederick" userId="bb732f183fe92d5e" providerId="LiveId" clId="{43349F25-1AA8-48B6-B15D-870CD0E086F1}" dt="2020-11-13T10:43:33.322" v="109" actId="208"/>
          <ac:cxnSpMkLst>
            <pc:docMk/>
            <pc:sldMk cId="2351287908" sldId="269"/>
            <ac:cxnSpMk id="41" creationId="{D2F69CCD-F75F-409A-86F0-4332D583B5FB}"/>
          </ac:cxnSpMkLst>
        </pc:cxnChg>
        <pc:cxnChg chg="mod topLvl">
          <ac:chgData name="Frederick" userId="bb732f183fe92d5e" providerId="LiveId" clId="{43349F25-1AA8-48B6-B15D-870CD0E086F1}" dt="2020-11-13T11:12:36.826" v="1531" actId="208"/>
          <ac:cxnSpMkLst>
            <pc:docMk/>
            <pc:sldMk cId="2351287908" sldId="269"/>
            <ac:cxnSpMk id="43" creationId="{7AE1D119-939B-401E-836B-03F0C8B3A367}"/>
          </ac:cxnSpMkLst>
        </pc:cxnChg>
        <pc:cxnChg chg="mod topLvl">
          <ac:chgData name="Frederick" userId="bb732f183fe92d5e" providerId="LiveId" clId="{43349F25-1AA8-48B6-B15D-870CD0E086F1}" dt="2020-11-13T10:43:21.264" v="106" actId="208"/>
          <ac:cxnSpMkLst>
            <pc:docMk/>
            <pc:sldMk cId="2351287908" sldId="269"/>
            <ac:cxnSpMk id="45" creationId="{A0F3236E-9029-4CEE-96E7-3F3EFBBA8370}"/>
          </ac:cxnSpMkLst>
        </pc:cxnChg>
        <pc:cxnChg chg="mod topLvl">
          <ac:chgData name="Frederick" userId="bb732f183fe92d5e" providerId="LiveId" clId="{43349F25-1AA8-48B6-B15D-870CD0E086F1}" dt="2020-11-13T10:43:25.730" v="107" actId="208"/>
          <ac:cxnSpMkLst>
            <pc:docMk/>
            <pc:sldMk cId="2351287908" sldId="269"/>
            <ac:cxnSpMk id="49" creationId="{9D46AA53-9A90-4CD3-9522-659D150B99E7}"/>
          </ac:cxnSpMkLst>
        </pc:cxnChg>
        <pc:cxnChg chg="mod topLvl">
          <ac:chgData name="Frederick" userId="bb732f183fe92d5e" providerId="LiveId" clId="{43349F25-1AA8-48B6-B15D-870CD0E086F1}" dt="2020-11-13T10:43:29.997" v="108" actId="208"/>
          <ac:cxnSpMkLst>
            <pc:docMk/>
            <pc:sldMk cId="2351287908" sldId="269"/>
            <ac:cxnSpMk id="51" creationId="{86067176-F88C-4095-ACD7-63773BBD6F3D}"/>
          </ac:cxnSpMkLst>
        </pc:cxnChg>
        <pc:cxnChg chg="mod topLvl">
          <ac:chgData name="Frederick" userId="bb732f183fe92d5e" providerId="LiveId" clId="{43349F25-1AA8-48B6-B15D-870CD0E086F1}" dt="2020-11-13T10:43:33.322" v="109" actId="208"/>
          <ac:cxnSpMkLst>
            <pc:docMk/>
            <pc:sldMk cId="2351287908" sldId="269"/>
            <ac:cxnSpMk id="53" creationId="{CB2B3E87-C11C-43B1-8BF9-3F587F05CA55}"/>
          </ac:cxnSpMkLst>
        </pc:cxnChg>
        <pc:cxnChg chg="mod topLvl">
          <ac:chgData name="Frederick" userId="bb732f183fe92d5e" providerId="LiveId" clId="{43349F25-1AA8-48B6-B15D-870CD0E086F1}" dt="2020-11-13T11:12:36.826" v="1531" actId="208"/>
          <ac:cxnSpMkLst>
            <pc:docMk/>
            <pc:sldMk cId="2351287908" sldId="269"/>
            <ac:cxnSpMk id="55" creationId="{21B9B4F1-90F4-4794-925F-72FF9FEE9043}"/>
          </ac:cxnSpMkLst>
        </pc:cxnChg>
        <pc:cxnChg chg="mod topLvl">
          <ac:chgData name="Frederick" userId="bb732f183fe92d5e" providerId="LiveId" clId="{43349F25-1AA8-48B6-B15D-870CD0E086F1}" dt="2020-11-13T10:43:21.264" v="106" actId="208"/>
          <ac:cxnSpMkLst>
            <pc:docMk/>
            <pc:sldMk cId="2351287908" sldId="269"/>
            <ac:cxnSpMk id="57" creationId="{539B8319-4F11-4469-BCFD-FDE93ECF4124}"/>
          </ac:cxnSpMkLst>
        </pc:cxnChg>
        <pc:cxnChg chg="mod topLvl">
          <ac:chgData name="Frederick" userId="bb732f183fe92d5e" providerId="LiveId" clId="{43349F25-1AA8-48B6-B15D-870CD0E086F1}" dt="2020-11-13T10:43:25.730" v="107" actId="208"/>
          <ac:cxnSpMkLst>
            <pc:docMk/>
            <pc:sldMk cId="2351287908" sldId="269"/>
            <ac:cxnSpMk id="61" creationId="{DF6CC1AB-9019-47BD-A7AD-563427BF50DB}"/>
          </ac:cxnSpMkLst>
        </pc:cxnChg>
        <pc:cxnChg chg="mod topLvl">
          <ac:chgData name="Frederick" userId="bb732f183fe92d5e" providerId="LiveId" clId="{43349F25-1AA8-48B6-B15D-870CD0E086F1}" dt="2020-11-13T10:43:29.997" v="108" actId="208"/>
          <ac:cxnSpMkLst>
            <pc:docMk/>
            <pc:sldMk cId="2351287908" sldId="269"/>
            <ac:cxnSpMk id="63" creationId="{0E42B9A7-5BC8-4240-8D53-1DD3B030F0B8}"/>
          </ac:cxnSpMkLst>
        </pc:cxnChg>
        <pc:cxnChg chg="mod topLvl">
          <ac:chgData name="Frederick" userId="bb732f183fe92d5e" providerId="LiveId" clId="{43349F25-1AA8-48B6-B15D-870CD0E086F1}" dt="2020-11-13T10:43:33.322" v="109" actId="208"/>
          <ac:cxnSpMkLst>
            <pc:docMk/>
            <pc:sldMk cId="2351287908" sldId="269"/>
            <ac:cxnSpMk id="65" creationId="{4E02F8B2-D438-4BE9-8183-A42563C632F7}"/>
          </ac:cxnSpMkLst>
        </pc:cxnChg>
        <pc:cxnChg chg="mod topLvl">
          <ac:chgData name="Frederick" userId="bb732f183fe92d5e" providerId="LiveId" clId="{43349F25-1AA8-48B6-B15D-870CD0E086F1}" dt="2020-11-13T11:12:36.826" v="1531" actId="208"/>
          <ac:cxnSpMkLst>
            <pc:docMk/>
            <pc:sldMk cId="2351287908" sldId="269"/>
            <ac:cxnSpMk id="67" creationId="{1959D5ED-63EC-45E6-9265-E1D8426FE4F3}"/>
          </ac:cxnSpMkLst>
        </pc:cxnChg>
        <pc:cxnChg chg="mod topLvl">
          <ac:chgData name="Frederick" userId="bb732f183fe92d5e" providerId="LiveId" clId="{43349F25-1AA8-48B6-B15D-870CD0E086F1}" dt="2020-11-13T10:43:21.264" v="106" actId="208"/>
          <ac:cxnSpMkLst>
            <pc:docMk/>
            <pc:sldMk cId="2351287908" sldId="269"/>
            <ac:cxnSpMk id="69" creationId="{8CA8360B-005E-4A27-8E61-2470D94F8E6D}"/>
          </ac:cxnSpMkLst>
        </pc:cxnChg>
        <pc:cxnChg chg="mod topLvl">
          <ac:chgData name="Frederick" userId="bb732f183fe92d5e" providerId="LiveId" clId="{43349F25-1AA8-48B6-B15D-870CD0E086F1}" dt="2020-11-13T10:43:25.730" v="107" actId="208"/>
          <ac:cxnSpMkLst>
            <pc:docMk/>
            <pc:sldMk cId="2351287908" sldId="269"/>
            <ac:cxnSpMk id="73" creationId="{6021370C-0D4B-4D1C-83B7-65287532B674}"/>
          </ac:cxnSpMkLst>
        </pc:cxnChg>
        <pc:cxnChg chg="mod topLvl">
          <ac:chgData name="Frederick" userId="bb732f183fe92d5e" providerId="LiveId" clId="{43349F25-1AA8-48B6-B15D-870CD0E086F1}" dt="2020-11-13T10:43:29.997" v="108" actId="208"/>
          <ac:cxnSpMkLst>
            <pc:docMk/>
            <pc:sldMk cId="2351287908" sldId="269"/>
            <ac:cxnSpMk id="75" creationId="{489C583E-9254-4A05-87BE-1B2766AE7BBA}"/>
          </ac:cxnSpMkLst>
        </pc:cxnChg>
        <pc:cxnChg chg="mod topLvl">
          <ac:chgData name="Frederick" userId="bb732f183fe92d5e" providerId="LiveId" clId="{43349F25-1AA8-48B6-B15D-870CD0E086F1}" dt="2020-11-13T10:43:33.322" v="109" actId="208"/>
          <ac:cxnSpMkLst>
            <pc:docMk/>
            <pc:sldMk cId="2351287908" sldId="269"/>
            <ac:cxnSpMk id="77" creationId="{B2988FF0-7925-41BA-9D1E-987AA01104CA}"/>
          </ac:cxnSpMkLst>
        </pc:cxnChg>
        <pc:cxnChg chg="mod topLvl">
          <ac:chgData name="Frederick" userId="bb732f183fe92d5e" providerId="LiveId" clId="{43349F25-1AA8-48B6-B15D-870CD0E086F1}" dt="2020-11-13T11:12:36.826" v="1531" actId="208"/>
          <ac:cxnSpMkLst>
            <pc:docMk/>
            <pc:sldMk cId="2351287908" sldId="269"/>
            <ac:cxnSpMk id="79" creationId="{0EC742E5-D9B4-441B-8CFA-6D1E4CCD8DC0}"/>
          </ac:cxnSpMkLst>
        </pc:cxnChg>
        <pc:cxnChg chg="mod topLvl">
          <ac:chgData name="Frederick" userId="bb732f183fe92d5e" providerId="LiveId" clId="{43349F25-1AA8-48B6-B15D-870CD0E086F1}" dt="2020-11-13T10:43:21.264" v="106" actId="208"/>
          <ac:cxnSpMkLst>
            <pc:docMk/>
            <pc:sldMk cId="2351287908" sldId="269"/>
            <ac:cxnSpMk id="81" creationId="{A0C802F4-5B63-4127-997A-CD20DCAF659B}"/>
          </ac:cxnSpMkLst>
        </pc:cxnChg>
        <pc:cxnChg chg="mod topLvl">
          <ac:chgData name="Frederick" userId="bb732f183fe92d5e" providerId="LiveId" clId="{43349F25-1AA8-48B6-B15D-870CD0E086F1}" dt="2020-11-13T10:43:42.102" v="111" actId="208"/>
          <ac:cxnSpMkLst>
            <pc:docMk/>
            <pc:sldMk cId="2351287908" sldId="269"/>
            <ac:cxnSpMk id="86" creationId="{5E5C59E4-3793-4F36-98B1-FF5DFDA0305E}"/>
          </ac:cxnSpMkLst>
        </pc:cxnChg>
        <pc:cxnChg chg="mod topLvl">
          <ac:chgData name="Frederick" userId="bb732f183fe92d5e" providerId="LiveId" clId="{43349F25-1AA8-48B6-B15D-870CD0E086F1}" dt="2020-11-13T10:43:45.998" v="112" actId="208"/>
          <ac:cxnSpMkLst>
            <pc:docMk/>
            <pc:sldMk cId="2351287908" sldId="269"/>
            <ac:cxnSpMk id="88" creationId="{5E9CF697-20C3-4E35-9A9A-C29F478324C8}"/>
          </ac:cxnSpMkLst>
        </pc:cxnChg>
        <pc:cxnChg chg="mod topLvl">
          <ac:chgData name="Frederick" userId="bb732f183fe92d5e" providerId="LiveId" clId="{43349F25-1AA8-48B6-B15D-870CD0E086F1}" dt="2020-11-13T10:43:49.666" v="113" actId="208"/>
          <ac:cxnSpMkLst>
            <pc:docMk/>
            <pc:sldMk cId="2351287908" sldId="269"/>
            <ac:cxnSpMk id="90" creationId="{F7A2288D-42BB-49F1-8C63-4452ACE82B6C}"/>
          </ac:cxnSpMkLst>
        </pc:cxnChg>
        <pc:cxnChg chg="mod topLvl">
          <ac:chgData name="Frederick" userId="bb732f183fe92d5e" providerId="LiveId" clId="{43349F25-1AA8-48B6-B15D-870CD0E086F1}" dt="2020-11-13T11:12:40.551" v="1532" actId="208"/>
          <ac:cxnSpMkLst>
            <pc:docMk/>
            <pc:sldMk cId="2351287908" sldId="269"/>
            <ac:cxnSpMk id="92" creationId="{E4E845E7-9675-4373-9D1F-8C31E6D1CB0B}"/>
          </ac:cxnSpMkLst>
        </pc:cxnChg>
        <pc:cxnChg chg="mod topLvl">
          <ac:chgData name="Frederick" userId="bb732f183fe92d5e" providerId="LiveId" clId="{43349F25-1AA8-48B6-B15D-870CD0E086F1}" dt="2020-11-13T10:43:37.859" v="110" actId="208"/>
          <ac:cxnSpMkLst>
            <pc:docMk/>
            <pc:sldMk cId="2351287908" sldId="269"/>
            <ac:cxnSpMk id="94" creationId="{DFDD28BE-EBFB-4936-9956-84EDCC4BC9C3}"/>
          </ac:cxnSpMkLst>
        </pc:cxnChg>
        <pc:cxnChg chg="mod topLvl">
          <ac:chgData name="Frederick" userId="bb732f183fe92d5e" providerId="LiveId" clId="{43349F25-1AA8-48B6-B15D-870CD0E086F1}" dt="2020-11-13T10:43:42.102" v="111" actId="208"/>
          <ac:cxnSpMkLst>
            <pc:docMk/>
            <pc:sldMk cId="2351287908" sldId="269"/>
            <ac:cxnSpMk id="98" creationId="{387B4DC7-1440-46EF-9963-6C8E1C65AFA1}"/>
          </ac:cxnSpMkLst>
        </pc:cxnChg>
        <pc:cxnChg chg="mod topLvl">
          <ac:chgData name="Frederick" userId="bb732f183fe92d5e" providerId="LiveId" clId="{43349F25-1AA8-48B6-B15D-870CD0E086F1}" dt="2020-11-13T10:43:45.998" v="112" actId="208"/>
          <ac:cxnSpMkLst>
            <pc:docMk/>
            <pc:sldMk cId="2351287908" sldId="269"/>
            <ac:cxnSpMk id="100" creationId="{ACB0B45C-1014-41E4-AA7F-1BDA84E7DDCD}"/>
          </ac:cxnSpMkLst>
        </pc:cxnChg>
        <pc:cxnChg chg="mod topLvl">
          <ac:chgData name="Frederick" userId="bb732f183fe92d5e" providerId="LiveId" clId="{43349F25-1AA8-48B6-B15D-870CD0E086F1}" dt="2020-11-13T10:43:49.666" v="113" actId="208"/>
          <ac:cxnSpMkLst>
            <pc:docMk/>
            <pc:sldMk cId="2351287908" sldId="269"/>
            <ac:cxnSpMk id="102" creationId="{387C4B2B-C956-425A-8329-281B10CD26EF}"/>
          </ac:cxnSpMkLst>
        </pc:cxnChg>
        <pc:cxnChg chg="mod topLvl">
          <ac:chgData name="Frederick" userId="bb732f183fe92d5e" providerId="LiveId" clId="{43349F25-1AA8-48B6-B15D-870CD0E086F1}" dt="2020-11-13T11:12:40.551" v="1532" actId="208"/>
          <ac:cxnSpMkLst>
            <pc:docMk/>
            <pc:sldMk cId="2351287908" sldId="269"/>
            <ac:cxnSpMk id="104" creationId="{56F8B568-4946-40CA-9151-55274F48711A}"/>
          </ac:cxnSpMkLst>
        </pc:cxnChg>
        <pc:cxnChg chg="mod topLvl">
          <ac:chgData name="Frederick" userId="bb732f183fe92d5e" providerId="LiveId" clId="{43349F25-1AA8-48B6-B15D-870CD0E086F1}" dt="2020-11-13T10:43:37.859" v="110" actId="208"/>
          <ac:cxnSpMkLst>
            <pc:docMk/>
            <pc:sldMk cId="2351287908" sldId="269"/>
            <ac:cxnSpMk id="106" creationId="{83646B54-5B95-44A9-9CA1-1F01928D4CDB}"/>
          </ac:cxnSpMkLst>
        </pc:cxnChg>
        <pc:cxnChg chg="mod topLvl">
          <ac:chgData name="Frederick" userId="bb732f183fe92d5e" providerId="LiveId" clId="{43349F25-1AA8-48B6-B15D-870CD0E086F1}" dt="2020-11-13T10:43:42.102" v="111" actId="208"/>
          <ac:cxnSpMkLst>
            <pc:docMk/>
            <pc:sldMk cId="2351287908" sldId="269"/>
            <ac:cxnSpMk id="110" creationId="{AD4A7BEC-0D27-49DC-80F4-A2F980B131BE}"/>
          </ac:cxnSpMkLst>
        </pc:cxnChg>
        <pc:cxnChg chg="mod topLvl">
          <ac:chgData name="Frederick" userId="bb732f183fe92d5e" providerId="LiveId" clId="{43349F25-1AA8-48B6-B15D-870CD0E086F1}" dt="2020-11-13T10:43:45.998" v="112" actId="208"/>
          <ac:cxnSpMkLst>
            <pc:docMk/>
            <pc:sldMk cId="2351287908" sldId="269"/>
            <ac:cxnSpMk id="112" creationId="{6C96AF30-253C-4BF8-A6C8-66E2B80D386A}"/>
          </ac:cxnSpMkLst>
        </pc:cxnChg>
        <pc:cxnChg chg="mod topLvl">
          <ac:chgData name="Frederick" userId="bb732f183fe92d5e" providerId="LiveId" clId="{43349F25-1AA8-48B6-B15D-870CD0E086F1}" dt="2020-11-13T10:43:49.666" v="113" actId="208"/>
          <ac:cxnSpMkLst>
            <pc:docMk/>
            <pc:sldMk cId="2351287908" sldId="269"/>
            <ac:cxnSpMk id="114" creationId="{1D115A11-C0F0-4DD8-B16B-0CEA296A0E42}"/>
          </ac:cxnSpMkLst>
        </pc:cxnChg>
        <pc:cxnChg chg="mod topLvl">
          <ac:chgData name="Frederick" userId="bb732f183fe92d5e" providerId="LiveId" clId="{43349F25-1AA8-48B6-B15D-870CD0E086F1}" dt="2020-11-13T11:12:40.551" v="1532" actId="208"/>
          <ac:cxnSpMkLst>
            <pc:docMk/>
            <pc:sldMk cId="2351287908" sldId="269"/>
            <ac:cxnSpMk id="116" creationId="{A6D3A842-71A1-41B1-9918-7783A8ADB15C}"/>
          </ac:cxnSpMkLst>
        </pc:cxnChg>
        <pc:cxnChg chg="mod topLvl">
          <ac:chgData name="Frederick" userId="bb732f183fe92d5e" providerId="LiveId" clId="{43349F25-1AA8-48B6-B15D-870CD0E086F1}" dt="2020-11-13T10:43:37.859" v="110" actId="208"/>
          <ac:cxnSpMkLst>
            <pc:docMk/>
            <pc:sldMk cId="2351287908" sldId="269"/>
            <ac:cxnSpMk id="118" creationId="{773E98A2-9309-4B93-9C67-FCC70C0C7C90}"/>
          </ac:cxnSpMkLst>
        </pc:cxnChg>
        <pc:cxnChg chg="mod topLvl">
          <ac:chgData name="Frederick" userId="bb732f183fe92d5e" providerId="LiveId" clId="{43349F25-1AA8-48B6-B15D-870CD0E086F1}" dt="2020-11-13T10:43:42.102" v="111" actId="208"/>
          <ac:cxnSpMkLst>
            <pc:docMk/>
            <pc:sldMk cId="2351287908" sldId="269"/>
            <ac:cxnSpMk id="122" creationId="{40EDCBB1-8C72-4152-AC76-39BCBFB0E44F}"/>
          </ac:cxnSpMkLst>
        </pc:cxnChg>
        <pc:cxnChg chg="mod topLvl">
          <ac:chgData name="Frederick" userId="bb732f183fe92d5e" providerId="LiveId" clId="{43349F25-1AA8-48B6-B15D-870CD0E086F1}" dt="2020-11-13T10:43:45.998" v="112" actId="208"/>
          <ac:cxnSpMkLst>
            <pc:docMk/>
            <pc:sldMk cId="2351287908" sldId="269"/>
            <ac:cxnSpMk id="124" creationId="{F1D683EF-413A-4468-A1A4-45B92E25771F}"/>
          </ac:cxnSpMkLst>
        </pc:cxnChg>
        <pc:cxnChg chg="mod topLvl">
          <ac:chgData name="Frederick" userId="bb732f183fe92d5e" providerId="LiveId" clId="{43349F25-1AA8-48B6-B15D-870CD0E086F1}" dt="2020-11-13T10:43:49.666" v="113" actId="208"/>
          <ac:cxnSpMkLst>
            <pc:docMk/>
            <pc:sldMk cId="2351287908" sldId="269"/>
            <ac:cxnSpMk id="126" creationId="{DB0F0C4B-7B39-46A5-8783-C35AA4AE6C5B}"/>
          </ac:cxnSpMkLst>
        </pc:cxnChg>
        <pc:cxnChg chg="mod topLvl">
          <ac:chgData name="Frederick" userId="bb732f183fe92d5e" providerId="LiveId" clId="{43349F25-1AA8-48B6-B15D-870CD0E086F1}" dt="2020-11-13T11:12:40.551" v="1532" actId="208"/>
          <ac:cxnSpMkLst>
            <pc:docMk/>
            <pc:sldMk cId="2351287908" sldId="269"/>
            <ac:cxnSpMk id="128" creationId="{C55CF38E-09A1-4782-A98B-2BBDB5935530}"/>
          </ac:cxnSpMkLst>
        </pc:cxnChg>
        <pc:cxnChg chg="mod topLvl">
          <ac:chgData name="Frederick" userId="bb732f183fe92d5e" providerId="LiveId" clId="{43349F25-1AA8-48B6-B15D-870CD0E086F1}" dt="2020-11-13T10:43:37.859" v="110" actId="208"/>
          <ac:cxnSpMkLst>
            <pc:docMk/>
            <pc:sldMk cId="2351287908" sldId="269"/>
            <ac:cxnSpMk id="130" creationId="{3AFBAC24-A7B9-4EBF-A147-F1932E08E146}"/>
          </ac:cxnSpMkLst>
        </pc:cxnChg>
        <pc:cxnChg chg="mod topLvl">
          <ac:chgData name="Frederick" userId="bb732f183fe92d5e" providerId="LiveId" clId="{43349F25-1AA8-48B6-B15D-870CD0E086F1}" dt="2020-11-13T10:43:42.102" v="111" actId="208"/>
          <ac:cxnSpMkLst>
            <pc:docMk/>
            <pc:sldMk cId="2351287908" sldId="269"/>
            <ac:cxnSpMk id="134" creationId="{9435216D-29C6-4C48-8599-0279C2D88D08}"/>
          </ac:cxnSpMkLst>
        </pc:cxnChg>
        <pc:cxnChg chg="mod topLvl">
          <ac:chgData name="Frederick" userId="bb732f183fe92d5e" providerId="LiveId" clId="{43349F25-1AA8-48B6-B15D-870CD0E086F1}" dt="2020-11-13T10:43:45.998" v="112" actId="208"/>
          <ac:cxnSpMkLst>
            <pc:docMk/>
            <pc:sldMk cId="2351287908" sldId="269"/>
            <ac:cxnSpMk id="136" creationId="{C0D3BC71-34D1-47F3-BCA9-6C8A7D557F8D}"/>
          </ac:cxnSpMkLst>
        </pc:cxnChg>
        <pc:cxnChg chg="mod topLvl">
          <ac:chgData name="Frederick" userId="bb732f183fe92d5e" providerId="LiveId" clId="{43349F25-1AA8-48B6-B15D-870CD0E086F1}" dt="2020-11-13T10:43:49.666" v="113" actId="208"/>
          <ac:cxnSpMkLst>
            <pc:docMk/>
            <pc:sldMk cId="2351287908" sldId="269"/>
            <ac:cxnSpMk id="138" creationId="{C66A138C-6EB9-4541-921C-0D52772002C1}"/>
          </ac:cxnSpMkLst>
        </pc:cxnChg>
        <pc:cxnChg chg="mod topLvl">
          <ac:chgData name="Frederick" userId="bb732f183fe92d5e" providerId="LiveId" clId="{43349F25-1AA8-48B6-B15D-870CD0E086F1}" dt="2020-11-13T11:12:40.551" v="1532" actId="208"/>
          <ac:cxnSpMkLst>
            <pc:docMk/>
            <pc:sldMk cId="2351287908" sldId="269"/>
            <ac:cxnSpMk id="140" creationId="{BEC28AC8-9B87-479C-8CAC-CD14E666EDDE}"/>
          </ac:cxnSpMkLst>
        </pc:cxnChg>
        <pc:cxnChg chg="mod topLvl">
          <ac:chgData name="Frederick" userId="bb732f183fe92d5e" providerId="LiveId" clId="{43349F25-1AA8-48B6-B15D-870CD0E086F1}" dt="2020-11-13T10:43:37.859" v="110" actId="208"/>
          <ac:cxnSpMkLst>
            <pc:docMk/>
            <pc:sldMk cId="2351287908" sldId="269"/>
            <ac:cxnSpMk id="142" creationId="{6C0F71C1-D17D-40DC-9A45-65B0B470DBA9}"/>
          </ac:cxnSpMkLst>
        </pc:cxnChg>
      </pc:sldChg>
      <pc:sldChg chg="modSp add mod">
        <pc:chgData name="Frederick" userId="bb732f183fe92d5e" providerId="LiveId" clId="{43349F25-1AA8-48B6-B15D-870CD0E086F1}" dt="2020-11-14T18:55:52.670" v="2180" actId="20577"/>
        <pc:sldMkLst>
          <pc:docMk/>
          <pc:sldMk cId="2656985870" sldId="270"/>
        </pc:sldMkLst>
        <pc:spChg chg="mod">
          <ac:chgData name="Frederick" userId="bb732f183fe92d5e" providerId="LiveId" clId="{43349F25-1AA8-48B6-B15D-870CD0E086F1}" dt="2020-11-13T11:59:41.793" v="1573" actId="20577"/>
          <ac:spMkLst>
            <pc:docMk/>
            <pc:sldMk cId="2656985870" sldId="270"/>
            <ac:spMk id="21" creationId="{18B214FB-3F56-4E2A-858B-5A9C8922725F}"/>
          </ac:spMkLst>
        </pc:spChg>
        <pc:spChg chg="mod">
          <ac:chgData name="Frederick" userId="bb732f183fe92d5e" providerId="LiveId" clId="{43349F25-1AA8-48B6-B15D-870CD0E086F1}" dt="2020-11-13T10:46:17.376" v="139" actId="20577"/>
          <ac:spMkLst>
            <pc:docMk/>
            <pc:sldMk cId="2656985870" sldId="270"/>
            <ac:spMk id="27" creationId="{F833485A-57D9-435E-B3FD-45EADBA802D9}"/>
          </ac:spMkLst>
        </pc:spChg>
        <pc:spChg chg="mod">
          <ac:chgData name="Frederick" userId="bb732f183fe92d5e" providerId="LiveId" clId="{43349F25-1AA8-48B6-B15D-870CD0E086F1}" dt="2020-11-13T11:59:46.072" v="1580" actId="20577"/>
          <ac:spMkLst>
            <pc:docMk/>
            <pc:sldMk cId="2656985870" sldId="270"/>
            <ac:spMk id="29" creationId="{47318649-5CFD-4325-ADB5-CD9F4D29550E}"/>
          </ac:spMkLst>
        </pc:spChg>
        <pc:spChg chg="mod">
          <ac:chgData name="Frederick" userId="bb732f183fe92d5e" providerId="LiveId" clId="{43349F25-1AA8-48B6-B15D-870CD0E086F1}" dt="2020-11-13T11:02:13.660" v="1134" actId="20577"/>
          <ac:spMkLst>
            <pc:docMk/>
            <pc:sldMk cId="2656985870" sldId="270"/>
            <ac:spMk id="31" creationId="{500D79F4-F731-4735-8FDF-ED31DC7FF617}"/>
          </ac:spMkLst>
        </pc:spChg>
        <pc:spChg chg="mod">
          <ac:chgData name="Frederick" userId="bb732f183fe92d5e" providerId="LiveId" clId="{43349F25-1AA8-48B6-B15D-870CD0E086F1}" dt="2020-11-13T10:50:14.346" v="366" actId="20577"/>
          <ac:spMkLst>
            <pc:docMk/>
            <pc:sldMk cId="2656985870" sldId="270"/>
            <ac:spMk id="40" creationId="{415DEBD6-3445-4AFC-9A10-01CFCF36EA4C}"/>
          </ac:spMkLst>
        </pc:spChg>
        <pc:spChg chg="mod">
          <ac:chgData name="Frederick" userId="bb732f183fe92d5e" providerId="LiveId" clId="{43349F25-1AA8-48B6-B15D-870CD0E086F1}" dt="2020-11-13T10:50:18.461" v="371" actId="20577"/>
          <ac:spMkLst>
            <pc:docMk/>
            <pc:sldMk cId="2656985870" sldId="270"/>
            <ac:spMk id="42" creationId="{22B7B757-2BC6-420D-8987-3F0354C4D3DB}"/>
          </ac:spMkLst>
        </pc:spChg>
        <pc:spChg chg="mod">
          <ac:chgData name="Frederick" userId="bb732f183fe92d5e" providerId="LiveId" clId="{43349F25-1AA8-48B6-B15D-870CD0E086F1}" dt="2020-11-14T18:49:12.284" v="1999" actId="20577"/>
          <ac:spMkLst>
            <pc:docMk/>
            <pc:sldMk cId="2656985870" sldId="270"/>
            <ac:spMk id="44" creationId="{5E995BA9-96E8-479F-B9CA-1A47D9A9B7C7}"/>
          </ac:spMkLst>
        </pc:spChg>
        <pc:spChg chg="mod">
          <ac:chgData name="Frederick" userId="bb732f183fe92d5e" providerId="LiveId" clId="{43349F25-1AA8-48B6-B15D-870CD0E086F1}" dt="2020-11-14T18:49:20.717" v="2003" actId="20577"/>
          <ac:spMkLst>
            <pc:docMk/>
            <pc:sldMk cId="2656985870" sldId="270"/>
            <ac:spMk id="46" creationId="{262AD893-2DE1-49FB-A1F8-AB2A4AEFAF8A}"/>
          </ac:spMkLst>
        </pc:spChg>
        <pc:spChg chg="mod">
          <ac:chgData name="Frederick" userId="bb732f183fe92d5e" providerId="LiveId" clId="{43349F25-1AA8-48B6-B15D-870CD0E086F1}" dt="2020-11-13T10:47:49.014" v="238" actId="20577"/>
          <ac:spMkLst>
            <pc:docMk/>
            <pc:sldMk cId="2656985870" sldId="270"/>
            <ac:spMk id="52" creationId="{ABEE5FAF-1273-4921-9D97-08109E9299E4}"/>
          </ac:spMkLst>
        </pc:spChg>
        <pc:spChg chg="mod">
          <ac:chgData name="Frederick" userId="bb732f183fe92d5e" providerId="LiveId" clId="{43349F25-1AA8-48B6-B15D-870CD0E086F1}" dt="2020-11-13T10:47:55.304" v="243" actId="20577"/>
          <ac:spMkLst>
            <pc:docMk/>
            <pc:sldMk cId="2656985870" sldId="270"/>
            <ac:spMk id="54" creationId="{B368A5DE-610A-4440-8D24-3E0E90E265A8}"/>
          </ac:spMkLst>
        </pc:spChg>
        <pc:spChg chg="mod">
          <ac:chgData name="Frederick" userId="bb732f183fe92d5e" providerId="LiveId" clId="{43349F25-1AA8-48B6-B15D-870CD0E086F1}" dt="2020-11-14T18:48:51.253" v="1991" actId="20577"/>
          <ac:spMkLst>
            <pc:docMk/>
            <pc:sldMk cId="2656985870" sldId="270"/>
            <ac:spMk id="56" creationId="{6ECAE49B-49B5-44DB-851B-D6E8E5D6DD39}"/>
          </ac:spMkLst>
        </pc:spChg>
        <pc:spChg chg="mod">
          <ac:chgData name="Frederick" userId="bb732f183fe92d5e" providerId="LiveId" clId="{43349F25-1AA8-48B6-B15D-870CD0E086F1}" dt="2020-11-13T10:47:43.372" v="224" actId="20577"/>
          <ac:spMkLst>
            <pc:docMk/>
            <pc:sldMk cId="2656985870" sldId="270"/>
            <ac:spMk id="58" creationId="{75D58FBE-7262-4AD3-94D7-EEE9D8CC8061}"/>
          </ac:spMkLst>
        </pc:spChg>
        <pc:spChg chg="mod">
          <ac:chgData name="Frederick" userId="bb732f183fe92d5e" providerId="LiveId" clId="{43349F25-1AA8-48B6-B15D-870CD0E086F1}" dt="2020-11-13T10:48:55.949" v="274" actId="20577"/>
          <ac:spMkLst>
            <pc:docMk/>
            <pc:sldMk cId="2656985870" sldId="270"/>
            <ac:spMk id="62" creationId="{E3D2C36B-E47E-44D0-8378-86698D2C6742}"/>
          </ac:spMkLst>
        </pc:spChg>
        <pc:spChg chg="mod">
          <ac:chgData name="Frederick" userId="bb732f183fe92d5e" providerId="LiveId" clId="{43349F25-1AA8-48B6-B15D-870CD0E086F1}" dt="2020-11-13T10:49:02.017" v="289" actId="20577"/>
          <ac:spMkLst>
            <pc:docMk/>
            <pc:sldMk cId="2656985870" sldId="270"/>
            <ac:spMk id="64" creationId="{AC52331A-3640-4433-9985-D0E554866DC1}"/>
          </ac:spMkLst>
        </pc:spChg>
        <pc:spChg chg="mod">
          <ac:chgData name="Frederick" userId="bb732f183fe92d5e" providerId="LiveId" clId="{43349F25-1AA8-48B6-B15D-870CD0E086F1}" dt="2020-11-13T10:49:39.552" v="328" actId="20577"/>
          <ac:spMkLst>
            <pc:docMk/>
            <pc:sldMk cId="2656985870" sldId="270"/>
            <ac:spMk id="66" creationId="{0C56D8C7-1EB6-46C5-B660-B04CFF5A882D}"/>
          </ac:spMkLst>
        </pc:spChg>
        <pc:spChg chg="mod">
          <ac:chgData name="Frederick" userId="bb732f183fe92d5e" providerId="LiveId" clId="{43349F25-1AA8-48B6-B15D-870CD0E086F1}" dt="2020-11-13T10:49:46.114" v="343" actId="20577"/>
          <ac:spMkLst>
            <pc:docMk/>
            <pc:sldMk cId="2656985870" sldId="270"/>
            <ac:spMk id="68" creationId="{77BE63CA-418D-4765-BBBD-FEEE3C3CA747}"/>
          </ac:spMkLst>
        </pc:spChg>
        <pc:spChg chg="mod">
          <ac:chgData name="Frederick" userId="bb732f183fe92d5e" providerId="LiveId" clId="{43349F25-1AA8-48B6-B15D-870CD0E086F1}" dt="2020-11-13T10:48:51.161" v="263" actId="20577"/>
          <ac:spMkLst>
            <pc:docMk/>
            <pc:sldMk cId="2656985870" sldId="270"/>
            <ac:spMk id="70" creationId="{BD8E9A55-BA7E-43F6-92BA-44701D0D9523}"/>
          </ac:spMkLst>
        </pc:spChg>
        <pc:spChg chg="mod">
          <ac:chgData name="Frederick" userId="bb732f183fe92d5e" providerId="LiveId" clId="{43349F25-1AA8-48B6-B15D-870CD0E086F1}" dt="2020-11-13T10:47:16.301" v="182" actId="20577"/>
          <ac:spMkLst>
            <pc:docMk/>
            <pc:sldMk cId="2656985870" sldId="270"/>
            <ac:spMk id="74" creationId="{523A4B2F-D5EB-4D75-8D68-ED5582D039A5}"/>
          </ac:spMkLst>
        </pc:spChg>
        <pc:spChg chg="mod">
          <ac:chgData name="Frederick" userId="bb732f183fe92d5e" providerId="LiveId" clId="{43349F25-1AA8-48B6-B15D-870CD0E086F1}" dt="2020-11-13T10:47:22.041" v="201" actId="20577"/>
          <ac:spMkLst>
            <pc:docMk/>
            <pc:sldMk cId="2656985870" sldId="270"/>
            <ac:spMk id="76" creationId="{E9C36504-7903-4EF4-8529-2EFB2583CCD8}"/>
          </ac:spMkLst>
        </pc:spChg>
        <pc:spChg chg="mod">
          <ac:chgData name="Frederick" userId="bb732f183fe92d5e" providerId="LiveId" clId="{43349F25-1AA8-48B6-B15D-870CD0E086F1}" dt="2020-11-13T10:47:24.913" v="207" actId="20577"/>
          <ac:spMkLst>
            <pc:docMk/>
            <pc:sldMk cId="2656985870" sldId="270"/>
            <ac:spMk id="78" creationId="{759DBB4E-D593-4C2A-81A0-1A892B3DD2C7}"/>
          </ac:spMkLst>
        </pc:spChg>
        <pc:spChg chg="mod">
          <ac:chgData name="Frederick" userId="bb732f183fe92d5e" providerId="LiveId" clId="{43349F25-1AA8-48B6-B15D-870CD0E086F1}" dt="2020-11-13T10:47:30.790" v="216" actId="20577"/>
          <ac:spMkLst>
            <pc:docMk/>
            <pc:sldMk cId="2656985870" sldId="270"/>
            <ac:spMk id="80" creationId="{43C50064-121E-4D6A-A44C-9B6A5C05ACE2}"/>
          </ac:spMkLst>
        </pc:spChg>
        <pc:spChg chg="mod">
          <ac:chgData name="Frederick" userId="bb732f183fe92d5e" providerId="LiveId" clId="{43349F25-1AA8-48B6-B15D-870CD0E086F1}" dt="2020-11-13T10:47:06.583" v="169" actId="20577"/>
          <ac:spMkLst>
            <pc:docMk/>
            <pc:sldMk cId="2656985870" sldId="270"/>
            <ac:spMk id="82" creationId="{EB029431-8705-450C-B990-B1AC884EF044}"/>
          </ac:spMkLst>
        </pc:spChg>
        <pc:spChg chg="mod">
          <ac:chgData name="Frederick" userId="bb732f183fe92d5e" providerId="LiveId" clId="{43349F25-1AA8-48B6-B15D-870CD0E086F1}" dt="2020-11-13T10:51:14.304" v="413" actId="20577"/>
          <ac:spMkLst>
            <pc:docMk/>
            <pc:sldMk cId="2656985870" sldId="270"/>
            <ac:spMk id="89" creationId="{911931EE-4449-4CCB-ACF8-E1030EDE64BD}"/>
          </ac:spMkLst>
        </pc:spChg>
        <pc:spChg chg="mod">
          <ac:chgData name="Frederick" userId="bb732f183fe92d5e" providerId="LiveId" clId="{43349F25-1AA8-48B6-B15D-870CD0E086F1}" dt="2020-11-13T10:51:17.801" v="417" actId="20577"/>
          <ac:spMkLst>
            <pc:docMk/>
            <pc:sldMk cId="2656985870" sldId="270"/>
            <ac:spMk id="91" creationId="{F735D81D-84F7-4E22-A75C-2C44173FD5F8}"/>
          </ac:spMkLst>
        </pc:spChg>
        <pc:spChg chg="mod">
          <ac:chgData name="Frederick" userId="bb732f183fe92d5e" providerId="LiveId" clId="{43349F25-1AA8-48B6-B15D-870CD0E086F1}" dt="2020-11-13T12:06:09.141" v="1591" actId="20577"/>
          <ac:spMkLst>
            <pc:docMk/>
            <pc:sldMk cId="2656985870" sldId="270"/>
            <ac:spMk id="93" creationId="{B0AF5CA1-EF57-40B1-9D1C-8A3B701856B2}"/>
          </ac:spMkLst>
        </pc:spChg>
        <pc:spChg chg="mod">
          <ac:chgData name="Frederick" userId="bb732f183fe92d5e" providerId="LiveId" clId="{43349F25-1AA8-48B6-B15D-870CD0E086F1}" dt="2020-11-13T10:51:07.007" v="401" actId="20577"/>
          <ac:spMkLst>
            <pc:docMk/>
            <pc:sldMk cId="2656985870" sldId="270"/>
            <ac:spMk id="95" creationId="{8E104201-4671-4EF1-A257-0BF6B663B739}"/>
          </ac:spMkLst>
        </pc:spChg>
        <pc:spChg chg="mod">
          <ac:chgData name="Frederick" userId="bb732f183fe92d5e" providerId="LiveId" clId="{43349F25-1AA8-48B6-B15D-870CD0E086F1}" dt="2020-11-13T10:55:42.975" v="713" actId="20577"/>
          <ac:spMkLst>
            <pc:docMk/>
            <pc:sldMk cId="2656985870" sldId="270"/>
            <ac:spMk id="101" creationId="{FB2E163B-8A30-4DA5-9088-CE26DB2A067F}"/>
          </ac:spMkLst>
        </pc:spChg>
        <pc:spChg chg="mod">
          <ac:chgData name="Frederick" userId="bb732f183fe92d5e" providerId="LiveId" clId="{43349F25-1AA8-48B6-B15D-870CD0E086F1}" dt="2020-11-13T10:56:10.482" v="724" actId="6549"/>
          <ac:spMkLst>
            <pc:docMk/>
            <pc:sldMk cId="2656985870" sldId="270"/>
            <ac:spMk id="103" creationId="{3CAB8D30-084E-4D46-82D2-7BBDC387F7E0}"/>
          </ac:spMkLst>
        </pc:spChg>
        <pc:spChg chg="mod">
          <ac:chgData name="Frederick" userId="bb732f183fe92d5e" providerId="LiveId" clId="{43349F25-1AA8-48B6-B15D-870CD0E086F1}" dt="2020-11-13T11:56:47.757" v="1567" actId="20577"/>
          <ac:spMkLst>
            <pc:docMk/>
            <pc:sldMk cId="2656985870" sldId="270"/>
            <ac:spMk id="105" creationId="{0BE94A22-F5A7-46A5-B035-2FC8EC30467A}"/>
          </ac:spMkLst>
        </pc:spChg>
        <pc:spChg chg="mod">
          <ac:chgData name="Frederick" userId="bb732f183fe92d5e" providerId="LiveId" clId="{43349F25-1AA8-48B6-B15D-870CD0E086F1}" dt="2020-11-14T18:35:18.048" v="1599" actId="20577"/>
          <ac:spMkLst>
            <pc:docMk/>
            <pc:sldMk cId="2656985870" sldId="270"/>
            <ac:spMk id="107" creationId="{A28DA0E1-44A7-4FC3-A365-1577A87DFF3D}"/>
          </ac:spMkLst>
        </pc:spChg>
        <pc:spChg chg="mod">
          <ac:chgData name="Frederick" userId="bb732f183fe92d5e" providerId="LiveId" clId="{43349F25-1AA8-48B6-B15D-870CD0E086F1}" dt="2020-11-13T10:53:08.904" v="543" actId="20577"/>
          <ac:spMkLst>
            <pc:docMk/>
            <pc:sldMk cId="2656985870" sldId="270"/>
            <ac:spMk id="113" creationId="{9D1561BA-78BA-4273-A85C-C5AE57D9C93C}"/>
          </ac:spMkLst>
        </pc:spChg>
        <pc:spChg chg="mod">
          <ac:chgData name="Frederick" userId="bb732f183fe92d5e" providerId="LiveId" clId="{43349F25-1AA8-48B6-B15D-870CD0E086F1}" dt="2020-11-13T10:53:43.080" v="562" actId="20577"/>
          <ac:spMkLst>
            <pc:docMk/>
            <pc:sldMk cId="2656985870" sldId="270"/>
            <ac:spMk id="115" creationId="{2D9A53EC-100E-4BB8-B1E5-6C5C81B83912}"/>
          </ac:spMkLst>
        </pc:spChg>
        <pc:spChg chg="mod">
          <ac:chgData name="Frederick" userId="bb732f183fe92d5e" providerId="LiveId" clId="{43349F25-1AA8-48B6-B15D-870CD0E086F1}" dt="2020-11-13T10:53:59.554" v="587" actId="20577"/>
          <ac:spMkLst>
            <pc:docMk/>
            <pc:sldMk cId="2656985870" sldId="270"/>
            <ac:spMk id="117" creationId="{9DE393B4-5550-4173-BB10-A15260A15719}"/>
          </ac:spMkLst>
        </pc:spChg>
        <pc:spChg chg="mod">
          <ac:chgData name="Frederick" userId="bb732f183fe92d5e" providerId="LiveId" clId="{43349F25-1AA8-48B6-B15D-870CD0E086F1}" dt="2020-11-13T10:53:52.593" v="564" actId="20577"/>
          <ac:spMkLst>
            <pc:docMk/>
            <pc:sldMk cId="2656985870" sldId="270"/>
            <ac:spMk id="119" creationId="{73B4ADD4-4A3C-4C07-AD80-C2DBC8730520}"/>
          </ac:spMkLst>
        </pc:spChg>
        <pc:spChg chg="mod">
          <ac:chgData name="Frederick" userId="bb732f183fe92d5e" providerId="LiveId" clId="{43349F25-1AA8-48B6-B15D-870CD0E086F1}" dt="2020-11-13T10:54:42.029" v="608" actId="20577"/>
          <ac:spMkLst>
            <pc:docMk/>
            <pc:sldMk cId="2656985870" sldId="270"/>
            <ac:spMk id="125" creationId="{04508B79-27FB-4883-8D55-0456198F2C83}"/>
          </ac:spMkLst>
        </pc:spChg>
        <pc:spChg chg="mod">
          <ac:chgData name="Frederick" userId="bb732f183fe92d5e" providerId="LiveId" clId="{43349F25-1AA8-48B6-B15D-870CD0E086F1}" dt="2020-11-13T10:55:26.472" v="700" actId="20577"/>
          <ac:spMkLst>
            <pc:docMk/>
            <pc:sldMk cId="2656985870" sldId="270"/>
            <ac:spMk id="129" creationId="{24D5146E-0EBC-4A09-A142-6105017359B8}"/>
          </ac:spMkLst>
        </pc:spChg>
        <pc:spChg chg="mod">
          <ac:chgData name="Frederick" userId="bb732f183fe92d5e" providerId="LiveId" clId="{43349F25-1AA8-48B6-B15D-870CD0E086F1}" dt="2020-11-13T10:54:22.357" v="600" actId="20577"/>
          <ac:spMkLst>
            <pc:docMk/>
            <pc:sldMk cId="2656985870" sldId="270"/>
            <ac:spMk id="131" creationId="{C1589BDF-957E-4CB6-AFB4-60A676D371DE}"/>
          </ac:spMkLst>
        </pc:spChg>
        <pc:spChg chg="mod">
          <ac:chgData name="Frederick" userId="bb732f183fe92d5e" providerId="LiveId" clId="{43349F25-1AA8-48B6-B15D-870CD0E086F1}" dt="2020-11-13T10:52:03.761" v="475" actId="20577"/>
          <ac:spMkLst>
            <pc:docMk/>
            <pc:sldMk cId="2656985870" sldId="270"/>
            <ac:spMk id="135" creationId="{BC863C98-34D7-4605-BC0C-904EB135FEA9}"/>
          </ac:spMkLst>
        </pc:spChg>
        <pc:spChg chg="mod">
          <ac:chgData name="Frederick" userId="bb732f183fe92d5e" providerId="LiveId" clId="{43349F25-1AA8-48B6-B15D-870CD0E086F1}" dt="2020-11-13T10:52:12.380" v="486" actId="20577"/>
          <ac:spMkLst>
            <pc:docMk/>
            <pc:sldMk cId="2656985870" sldId="270"/>
            <ac:spMk id="137" creationId="{28A59CEE-B5A9-4388-8763-0E842FBF6AC5}"/>
          </ac:spMkLst>
        </pc:spChg>
        <pc:spChg chg="mod">
          <ac:chgData name="Frederick" userId="bb732f183fe92d5e" providerId="LiveId" clId="{43349F25-1AA8-48B6-B15D-870CD0E086F1}" dt="2020-11-13T10:52:58.793" v="529" actId="20577"/>
          <ac:spMkLst>
            <pc:docMk/>
            <pc:sldMk cId="2656985870" sldId="270"/>
            <ac:spMk id="139" creationId="{E146392B-732A-4809-92DE-29057570BB71}"/>
          </ac:spMkLst>
        </pc:spChg>
        <pc:spChg chg="mod">
          <ac:chgData name="Frederick" userId="bb732f183fe92d5e" providerId="LiveId" clId="{43349F25-1AA8-48B6-B15D-870CD0E086F1}" dt="2020-11-14T18:55:52.670" v="2180" actId="20577"/>
          <ac:spMkLst>
            <pc:docMk/>
            <pc:sldMk cId="2656985870" sldId="270"/>
            <ac:spMk id="141" creationId="{4397FB22-E347-4195-AE1D-03338A3505E3}"/>
          </ac:spMkLst>
        </pc:spChg>
        <pc:spChg chg="mod">
          <ac:chgData name="Frederick" userId="bb732f183fe92d5e" providerId="LiveId" clId="{43349F25-1AA8-48B6-B15D-870CD0E086F1}" dt="2020-11-13T10:51:49.126" v="462" actId="20577"/>
          <ac:spMkLst>
            <pc:docMk/>
            <pc:sldMk cId="2656985870" sldId="270"/>
            <ac:spMk id="143" creationId="{E55A699D-7F77-44DF-8CE0-D1F0A6F79C70}"/>
          </ac:spMkLst>
        </pc:spChg>
        <pc:cxnChg chg="mod">
          <ac:chgData name="Frederick" userId="bb732f183fe92d5e" providerId="LiveId" clId="{43349F25-1AA8-48B6-B15D-870CD0E086F1}" dt="2020-11-13T11:12:32.245" v="1530" actId="208"/>
          <ac:cxnSpMkLst>
            <pc:docMk/>
            <pc:sldMk cId="2656985870" sldId="270"/>
            <ac:cxnSpMk id="30" creationId="{D105B746-982C-45E9-9A02-6B9E6D571B1A}"/>
          </ac:cxnSpMkLst>
        </pc:cxnChg>
        <pc:cxnChg chg="mod">
          <ac:chgData name="Frederick" userId="bb732f183fe92d5e" providerId="LiveId" clId="{43349F25-1AA8-48B6-B15D-870CD0E086F1}" dt="2020-11-13T11:12:32.245" v="1530" actId="208"/>
          <ac:cxnSpMkLst>
            <pc:docMk/>
            <pc:sldMk cId="2656985870" sldId="270"/>
            <ac:cxnSpMk id="43" creationId="{7AE1D119-939B-401E-836B-03F0C8B3A367}"/>
          </ac:cxnSpMkLst>
        </pc:cxnChg>
        <pc:cxnChg chg="mod">
          <ac:chgData name="Frederick" userId="bb732f183fe92d5e" providerId="LiveId" clId="{43349F25-1AA8-48B6-B15D-870CD0E086F1}" dt="2020-11-13T11:12:32.245" v="1530" actId="208"/>
          <ac:cxnSpMkLst>
            <pc:docMk/>
            <pc:sldMk cId="2656985870" sldId="270"/>
            <ac:cxnSpMk id="55" creationId="{21B9B4F1-90F4-4794-925F-72FF9FEE9043}"/>
          </ac:cxnSpMkLst>
        </pc:cxnChg>
        <pc:cxnChg chg="mod">
          <ac:chgData name="Frederick" userId="bb732f183fe92d5e" providerId="LiveId" clId="{43349F25-1AA8-48B6-B15D-870CD0E086F1}" dt="2020-11-13T11:12:32.245" v="1530" actId="208"/>
          <ac:cxnSpMkLst>
            <pc:docMk/>
            <pc:sldMk cId="2656985870" sldId="270"/>
            <ac:cxnSpMk id="67" creationId="{1959D5ED-63EC-45E6-9265-E1D8426FE4F3}"/>
          </ac:cxnSpMkLst>
        </pc:cxnChg>
        <pc:cxnChg chg="mod">
          <ac:chgData name="Frederick" userId="bb732f183fe92d5e" providerId="LiveId" clId="{43349F25-1AA8-48B6-B15D-870CD0E086F1}" dt="2020-11-13T11:12:32.245" v="1530" actId="208"/>
          <ac:cxnSpMkLst>
            <pc:docMk/>
            <pc:sldMk cId="2656985870" sldId="270"/>
            <ac:cxnSpMk id="79" creationId="{0EC742E5-D9B4-441B-8CFA-6D1E4CCD8DC0}"/>
          </ac:cxnSpMkLst>
        </pc:cxnChg>
        <pc:cxnChg chg="mod">
          <ac:chgData name="Frederick" userId="bb732f183fe92d5e" providerId="LiveId" clId="{43349F25-1AA8-48B6-B15D-870CD0E086F1}" dt="2020-11-13T11:12:29.164" v="1529" actId="208"/>
          <ac:cxnSpMkLst>
            <pc:docMk/>
            <pc:sldMk cId="2656985870" sldId="270"/>
            <ac:cxnSpMk id="92" creationId="{E4E845E7-9675-4373-9D1F-8C31E6D1CB0B}"/>
          </ac:cxnSpMkLst>
        </pc:cxnChg>
        <pc:cxnChg chg="mod">
          <ac:chgData name="Frederick" userId="bb732f183fe92d5e" providerId="LiveId" clId="{43349F25-1AA8-48B6-B15D-870CD0E086F1}" dt="2020-11-13T11:12:29.164" v="1529" actId="208"/>
          <ac:cxnSpMkLst>
            <pc:docMk/>
            <pc:sldMk cId="2656985870" sldId="270"/>
            <ac:cxnSpMk id="104" creationId="{56F8B568-4946-40CA-9151-55274F48711A}"/>
          </ac:cxnSpMkLst>
        </pc:cxnChg>
        <pc:cxnChg chg="mod">
          <ac:chgData name="Frederick" userId="bb732f183fe92d5e" providerId="LiveId" clId="{43349F25-1AA8-48B6-B15D-870CD0E086F1}" dt="2020-11-13T11:12:29.164" v="1529" actId="208"/>
          <ac:cxnSpMkLst>
            <pc:docMk/>
            <pc:sldMk cId="2656985870" sldId="270"/>
            <ac:cxnSpMk id="116" creationId="{A6D3A842-71A1-41B1-9918-7783A8ADB15C}"/>
          </ac:cxnSpMkLst>
        </pc:cxnChg>
        <pc:cxnChg chg="mod">
          <ac:chgData name="Frederick" userId="bb732f183fe92d5e" providerId="LiveId" clId="{43349F25-1AA8-48B6-B15D-870CD0E086F1}" dt="2020-11-13T11:12:29.164" v="1529" actId="208"/>
          <ac:cxnSpMkLst>
            <pc:docMk/>
            <pc:sldMk cId="2656985870" sldId="270"/>
            <ac:cxnSpMk id="128" creationId="{C55CF38E-09A1-4782-A98B-2BBDB5935530}"/>
          </ac:cxnSpMkLst>
        </pc:cxnChg>
        <pc:cxnChg chg="mod">
          <ac:chgData name="Frederick" userId="bb732f183fe92d5e" providerId="LiveId" clId="{43349F25-1AA8-48B6-B15D-870CD0E086F1}" dt="2020-11-13T11:12:29.164" v="1529" actId="208"/>
          <ac:cxnSpMkLst>
            <pc:docMk/>
            <pc:sldMk cId="2656985870" sldId="270"/>
            <ac:cxnSpMk id="140" creationId="{BEC28AC8-9B87-479C-8CAC-CD14E666EDDE}"/>
          </ac:cxnSpMkLst>
        </pc:cxnChg>
      </pc:sldChg>
      <pc:sldChg chg="modSp add mod">
        <pc:chgData name="Frederick" userId="bb732f183fe92d5e" providerId="LiveId" clId="{43349F25-1AA8-48B6-B15D-870CD0E086F1}" dt="2020-11-14T18:56:27.268" v="2192" actId="20577"/>
        <pc:sldMkLst>
          <pc:docMk/>
          <pc:sldMk cId="2751801972" sldId="271"/>
        </pc:sldMkLst>
        <pc:spChg chg="mod">
          <ac:chgData name="Frederick" userId="bb732f183fe92d5e" providerId="LiveId" clId="{43349F25-1AA8-48B6-B15D-870CD0E086F1}" dt="2020-11-13T10:56:47.718" v="742" actId="20577"/>
          <ac:spMkLst>
            <pc:docMk/>
            <pc:sldMk cId="2751801972" sldId="271"/>
            <ac:spMk id="21" creationId="{18B214FB-3F56-4E2A-858B-5A9C8922725F}"/>
          </ac:spMkLst>
        </pc:spChg>
        <pc:spChg chg="mod">
          <ac:chgData name="Frederick" userId="bb732f183fe92d5e" providerId="LiveId" clId="{43349F25-1AA8-48B6-B15D-870CD0E086F1}" dt="2020-11-13T10:56:55.912" v="762" actId="20577"/>
          <ac:spMkLst>
            <pc:docMk/>
            <pc:sldMk cId="2751801972" sldId="271"/>
            <ac:spMk id="27" creationId="{F833485A-57D9-435E-B3FD-45EADBA802D9}"/>
          </ac:spMkLst>
        </pc:spChg>
        <pc:spChg chg="mod">
          <ac:chgData name="Frederick" userId="bb732f183fe92d5e" providerId="LiveId" clId="{43349F25-1AA8-48B6-B15D-870CD0E086F1}" dt="2020-11-13T10:56:59.329" v="769" actId="20577"/>
          <ac:spMkLst>
            <pc:docMk/>
            <pc:sldMk cId="2751801972" sldId="271"/>
            <ac:spMk id="29" creationId="{47318649-5CFD-4325-ADB5-CD9F4D29550E}"/>
          </ac:spMkLst>
        </pc:spChg>
        <pc:spChg chg="mod">
          <ac:chgData name="Frederick" userId="bb732f183fe92d5e" providerId="LiveId" clId="{43349F25-1AA8-48B6-B15D-870CD0E086F1}" dt="2020-11-13T10:57:08.851" v="781" actId="20577"/>
          <ac:spMkLst>
            <pc:docMk/>
            <pc:sldMk cId="2751801972" sldId="271"/>
            <ac:spMk id="31" creationId="{500D79F4-F731-4735-8FDF-ED31DC7FF617}"/>
          </ac:spMkLst>
        </pc:spChg>
        <pc:spChg chg="mod">
          <ac:chgData name="Frederick" userId="bb732f183fe92d5e" providerId="LiveId" clId="{43349F25-1AA8-48B6-B15D-870CD0E086F1}" dt="2020-11-13T11:01:31.283" v="1069" actId="20577"/>
          <ac:spMkLst>
            <pc:docMk/>
            <pc:sldMk cId="2751801972" sldId="271"/>
            <ac:spMk id="40" creationId="{415DEBD6-3445-4AFC-9A10-01CFCF36EA4C}"/>
          </ac:spMkLst>
        </pc:spChg>
        <pc:spChg chg="mod">
          <ac:chgData name="Frederick" userId="bb732f183fe92d5e" providerId="LiveId" clId="{43349F25-1AA8-48B6-B15D-870CD0E086F1}" dt="2020-11-13T11:01:47.161" v="1119" actId="20577"/>
          <ac:spMkLst>
            <pc:docMk/>
            <pc:sldMk cId="2751801972" sldId="271"/>
            <ac:spMk id="44" creationId="{5E995BA9-96E8-479F-B9CA-1A47D9A9B7C7}"/>
          </ac:spMkLst>
        </pc:spChg>
        <pc:spChg chg="mod">
          <ac:chgData name="Frederick" userId="bb732f183fe92d5e" providerId="LiveId" clId="{43349F25-1AA8-48B6-B15D-870CD0E086F1}" dt="2020-11-13T11:01:20.328" v="1061" actId="20577"/>
          <ac:spMkLst>
            <pc:docMk/>
            <pc:sldMk cId="2751801972" sldId="271"/>
            <ac:spMk id="46" creationId="{262AD893-2DE1-49FB-A1F8-AB2A4AEFAF8A}"/>
          </ac:spMkLst>
        </pc:spChg>
        <pc:spChg chg="mod">
          <ac:chgData name="Frederick" userId="bb732f183fe92d5e" providerId="LiveId" clId="{43349F25-1AA8-48B6-B15D-870CD0E086F1}" dt="2020-11-13T10:58:11.516" v="853" actId="20577"/>
          <ac:spMkLst>
            <pc:docMk/>
            <pc:sldMk cId="2751801972" sldId="271"/>
            <ac:spMk id="50" creationId="{F967E6B2-3334-4083-988B-8A3FCA974A0D}"/>
          </ac:spMkLst>
        </pc:spChg>
        <pc:spChg chg="mod">
          <ac:chgData name="Frederick" userId="bb732f183fe92d5e" providerId="LiveId" clId="{43349F25-1AA8-48B6-B15D-870CD0E086F1}" dt="2020-11-13T10:58:47.743" v="882" actId="20577"/>
          <ac:spMkLst>
            <pc:docMk/>
            <pc:sldMk cId="2751801972" sldId="271"/>
            <ac:spMk id="52" creationId="{ABEE5FAF-1273-4921-9D97-08109E9299E4}"/>
          </ac:spMkLst>
        </pc:spChg>
        <pc:spChg chg="mod">
          <ac:chgData name="Frederick" userId="bb732f183fe92d5e" providerId="LiveId" clId="{43349F25-1AA8-48B6-B15D-870CD0E086F1}" dt="2020-11-13T10:59:15.462" v="899" actId="20577"/>
          <ac:spMkLst>
            <pc:docMk/>
            <pc:sldMk cId="2751801972" sldId="271"/>
            <ac:spMk id="54" creationId="{B368A5DE-610A-4440-8D24-3E0E90E265A8}"/>
          </ac:spMkLst>
        </pc:spChg>
        <pc:spChg chg="mod">
          <ac:chgData name="Frederick" userId="bb732f183fe92d5e" providerId="LiveId" clId="{43349F25-1AA8-48B6-B15D-870CD0E086F1}" dt="2020-11-13T10:59:44.346" v="946" actId="20577"/>
          <ac:spMkLst>
            <pc:docMk/>
            <pc:sldMk cId="2751801972" sldId="271"/>
            <ac:spMk id="56" creationId="{6ECAE49B-49B5-44DB-851B-D6E8E5D6DD39}"/>
          </ac:spMkLst>
        </pc:spChg>
        <pc:spChg chg="mod">
          <ac:chgData name="Frederick" userId="bb732f183fe92d5e" providerId="LiveId" clId="{43349F25-1AA8-48B6-B15D-870CD0E086F1}" dt="2020-11-13T10:58:01.551" v="843" actId="20577"/>
          <ac:spMkLst>
            <pc:docMk/>
            <pc:sldMk cId="2751801972" sldId="271"/>
            <ac:spMk id="58" creationId="{75D58FBE-7262-4AD3-94D7-EEE9D8CC8061}"/>
          </ac:spMkLst>
        </pc:spChg>
        <pc:spChg chg="mod">
          <ac:chgData name="Frederick" userId="bb732f183fe92d5e" providerId="LiveId" clId="{43349F25-1AA8-48B6-B15D-870CD0E086F1}" dt="2020-11-13T11:00:16.660" v="968" actId="20577"/>
          <ac:spMkLst>
            <pc:docMk/>
            <pc:sldMk cId="2751801972" sldId="271"/>
            <ac:spMk id="62" creationId="{E3D2C36B-E47E-44D0-8378-86698D2C6742}"/>
          </ac:spMkLst>
        </pc:spChg>
        <pc:spChg chg="mod">
          <ac:chgData name="Frederick" userId="bb732f183fe92d5e" providerId="LiveId" clId="{43349F25-1AA8-48B6-B15D-870CD0E086F1}" dt="2020-11-13T11:00:29.303" v="991" actId="20577"/>
          <ac:spMkLst>
            <pc:docMk/>
            <pc:sldMk cId="2751801972" sldId="271"/>
            <ac:spMk id="64" creationId="{AC52331A-3640-4433-9985-D0E554866DC1}"/>
          </ac:spMkLst>
        </pc:spChg>
        <pc:spChg chg="mod">
          <ac:chgData name="Frederick" userId="bb732f183fe92d5e" providerId="LiveId" clId="{43349F25-1AA8-48B6-B15D-870CD0E086F1}" dt="2020-11-13T11:00:54.859" v="1037" actId="20577"/>
          <ac:spMkLst>
            <pc:docMk/>
            <pc:sldMk cId="2751801972" sldId="271"/>
            <ac:spMk id="66" creationId="{0C56D8C7-1EB6-46C5-B660-B04CFF5A882D}"/>
          </ac:spMkLst>
        </pc:spChg>
        <pc:spChg chg="mod">
          <ac:chgData name="Frederick" userId="bb732f183fe92d5e" providerId="LiveId" clId="{43349F25-1AA8-48B6-B15D-870CD0E086F1}" dt="2020-11-13T11:01:05.203" v="1053" actId="20577"/>
          <ac:spMkLst>
            <pc:docMk/>
            <pc:sldMk cId="2751801972" sldId="271"/>
            <ac:spMk id="68" creationId="{77BE63CA-418D-4765-BBBD-FEEE3C3CA747}"/>
          </ac:spMkLst>
        </pc:spChg>
        <pc:spChg chg="mod">
          <ac:chgData name="Frederick" userId="bb732f183fe92d5e" providerId="LiveId" clId="{43349F25-1AA8-48B6-B15D-870CD0E086F1}" dt="2020-11-13T11:00:10.299" v="955" actId="20577"/>
          <ac:spMkLst>
            <pc:docMk/>
            <pc:sldMk cId="2751801972" sldId="271"/>
            <ac:spMk id="70" creationId="{BD8E9A55-BA7E-43F6-92BA-44701D0D9523}"/>
          </ac:spMkLst>
        </pc:spChg>
        <pc:spChg chg="mod">
          <ac:chgData name="Frederick" userId="bb732f183fe92d5e" providerId="LiveId" clId="{43349F25-1AA8-48B6-B15D-870CD0E086F1}" dt="2020-11-13T10:57:29.244" v="804" actId="20577"/>
          <ac:spMkLst>
            <pc:docMk/>
            <pc:sldMk cId="2751801972" sldId="271"/>
            <ac:spMk id="76" creationId="{E9C36504-7903-4EF4-8529-2EFB2583CCD8}"/>
          </ac:spMkLst>
        </pc:spChg>
        <pc:spChg chg="mod">
          <ac:chgData name="Frederick" userId="bb732f183fe92d5e" providerId="LiveId" clId="{43349F25-1AA8-48B6-B15D-870CD0E086F1}" dt="2020-11-13T10:57:41.351" v="809" actId="20577"/>
          <ac:spMkLst>
            <pc:docMk/>
            <pc:sldMk cId="2751801972" sldId="271"/>
            <ac:spMk id="78" creationId="{759DBB4E-D593-4C2A-81A0-1A892B3DD2C7}"/>
          </ac:spMkLst>
        </pc:spChg>
        <pc:spChg chg="mod">
          <ac:chgData name="Frederick" userId="bb732f183fe92d5e" providerId="LiveId" clId="{43349F25-1AA8-48B6-B15D-870CD0E086F1}" dt="2020-11-13T10:57:48.350" v="828" actId="20577"/>
          <ac:spMkLst>
            <pc:docMk/>
            <pc:sldMk cId="2751801972" sldId="271"/>
            <ac:spMk id="80" creationId="{43C50064-121E-4D6A-A44C-9B6A5C05ACE2}"/>
          </ac:spMkLst>
        </pc:spChg>
        <pc:spChg chg="mod">
          <ac:chgData name="Frederick" userId="bb732f183fe92d5e" providerId="LiveId" clId="{43349F25-1AA8-48B6-B15D-870CD0E086F1}" dt="2020-11-13T11:52:41.464" v="1544" actId="20577"/>
          <ac:spMkLst>
            <pc:docMk/>
            <pc:sldMk cId="2751801972" sldId="271"/>
            <ac:spMk id="82" creationId="{EB029431-8705-450C-B990-B1AC884EF044}"/>
          </ac:spMkLst>
        </pc:spChg>
        <pc:spChg chg="mod">
          <ac:chgData name="Frederick" userId="bb732f183fe92d5e" providerId="LiveId" clId="{43349F25-1AA8-48B6-B15D-870CD0E086F1}" dt="2020-11-13T11:02:48.439" v="1162" actId="20577"/>
          <ac:spMkLst>
            <pc:docMk/>
            <pc:sldMk cId="2751801972" sldId="271"/>
            <ac:spMk id="87" creationId="{086C1382-0905-4620-AE95-0FA2816113D1}"/>
          </ac:spMkLst>
        </pc:spChg>
        <pc:spChg chg="mod">
          <ac:chgData name="Frederick" userId="bb732f183fe92d5e" providerId="LiveId" clId="{43349F25-1AA8-48B6-B15D-870CD0E086F1}" dt="2020-11-13T11:03:22.100" v="1176" actId="20577"/>
          <ac:spMkLst>
            <pc:docMk/>
            <pc:sldMk cId="2751801972" sldId="271"/>
            <ac:spMk id="89" creationId="{911931EE-4449-4CCB-ACF8-E1030EDE64BD}"/>
          </ac:spMkLst>
        </pc:spChg>
        <pc:spChg chg="mod">
          <ac:chgData name="Frederick" userId="bb732f183fe92d5e" providerId="LiveId" clId="{43349F25-1AA8-48B6-B15D-870CD0E086F1}" dt="2020-11-13T11:03:32.073" v="1185" actId="20577"/>
          <ac:spMkLst>
            <pc:docMk/>
            <pc:sldMk cId="2751801972" sldId="271"/>
            <ac:spMk id="91" creationId="{F735D81D-84F7-4E22-A75C-2C44173FD5F8}"/>
          </ac:spMkLst>
        </pc:spChg>
        <pc:spChg chg="mod">
          <ac:chgData name="Frederick" userId="bb732f183fe92d5e" providerId="LiveId" clId="{43349F25-1AA8-48B6-B15D-870CD0E086F1}" dt="2020-11-13T11:04:24.219" v="1207" actId="20577"/>
          <ac:spMkLst>
            <pc:docMk/>
            <pc:sldMk cId="2751801972" sldId="271"/>
            <ac:spMk id="93" creationId="{B0AF5CA1-EF57-40B1-9D1C-8A3B701856B2}"/>
          </ac:spMkLst>
        </pc:spChg>
        <pc:spChg chg="mod">
          <ac:chgData name="Frederick" userId="bb732f183fe92d5e" providerId="LiveId" clId="{43349F25-1AA8-48B6-B15D-870CD0E086F1}" dt="2020-11-13T11:02:42.139" v="1145" actId="20577"/>
          <ac:spMkLst>
            <pc:docMk/>
            <pc:sldMk cId="2751801972" sldId="271"/>
            <ac:spMk id="95" creationId="{8E104201-4671-4EF1-A257-0BF6B663B739}"/>
          </ac:spMkLst>
        </pc:spChg>
        <pc:spChg chg="mod">
          <ac:chgData name="Frederick" userId="bb732f183fe92d5e" providerId="LiveId" clId="{43349F25-1AA8-48B6-B15D-870CD0E086F1}" dt="2020-11-13T11:09:07.903" v="1402" actId="20577"/>
          <ac:spMkLst>
            <pc:docMk/>
            <pc:sldMk cId="2751801972" sldId="271"/>
            <ac:spMk id="101" creationId="{FB2E163B-8A30-4DA5-9088-CE26DB2A067F}"/>
          </ac:spMkLst>
        </pc:spChg>
        <pc:spChg chg="mod">
          <ac:chgData name="Frederick" userId="bb732f183fe92d5e" providerId="LiveId" clId="{43349F25-1AA8-48B6-B15D-870CD0E086F1}" dt="2020-11-13T11:09:51.063" v="1433" actId="20577"/>
          <ac:spMkLst>
            <pc:docMk/>
            <pc:sldMk cId="2751801972" sldId="271"/>
            <ac:spMk id="103" creationId="{3CAB8D30-084E-4D46-82D2-7BBDC387F7E0}"/>
          </ac:spMkLst>
        </pc:spChg>
        <pc:spChg chg="mod">
          <ac:chgData name="Frederick" userId="bb732f183fe92d5e" providerId="LiveId" clId="{43349F25-1AA8-48B6-B15D-870CD0E086F1}" dt="2020-11-13T11:10:08.079" v="1447" actId="20577"/>
          <ac:spMkLst>
            <pc:docMk/>
            <pc:sldMk cId="2751801972" sldId="271"/>
            <ac:spMk id="105" creationId="{0BE94A22-F5A7-46A5-B035-2FC8EC30467A}"/>
          </ac:spMkLst>
        </pc:spChg>
        <pc:spChg chg="mod">
          <ac:chgData name="Frederick" userId="bb732f183fe92d5e" providerId="LiveId" clId="{43349F25-1AA8-48B6-B15D-870CD0E086F1}" dt="2020-11-13T11:08:10.359" v="1329" actId="20577"/>
          <ac:spMkLst>
            <pc:docMk/>
            <pc:sldMk cId="2751801972" sldId="271"/>
            <ac:spMk id="107" creationId="{A28DA0E1-44A7-4FC3-A365-1577A87DFF3D}"/>
          </ac:spMkLst>
        </pc:spChg>
        <pc:spChg chg="mod">
          <ac:chgData name="Frederick" userId="bb732f183fe92d5e" providerId="LiveId" clId="{43349F25-1AA8-48B6-B15D-870CD0E086F1}" dt="2020-11-13T11:07:04.151" v="1289" actId="20577"/>
          <ac:spMkLst>
            <pc:docMk/>
            <pc:sldMk cId="2751801972" sldId="271"/>
            <ac:spMk id="113" creationId="{9D1561BA-78BA-4273-A85C-C5AE57D9C93C}"/>
          </ac:spMkLst>
        </pc:spChg>
        <pc:spChg chg="mod">
          <ac:chgData name="Frederick" userId="bb732f183fe92d5e" providerId="LiveId" clId="{43349F25-1AA8-48B6-B15D-870CD0E086F1}" dt="2020-11-13T11:07:47.783" v="1308" actId="20577"/>
          <ac:spMkLst>
            <pc:docMk/>
            <pc:sldMk cId="2751801972" sldId="271"/>
            <ac:spMk id="117" creationId="{9DE393B4-5550-4173-BB10-A15260A15719}"/>
          </ac:spMkLst>
        </pc:spChg>
        <pc:spChg chg="mod">
          <ac:chgData name="Frederick" userId="bb732f183fe92d5e" providerId="LiveId" clId="{43349F25-1AA8-48B6-B15D-870CD0E086F1}" dt="2020-11-13T11:21:33.429" v="1539" actId="20577"/>
          <ac:spMkLst>
            <pc:docMk/>
            <pc:sldMk cId="2751801972" sldId="271"/>
            <ac:spMk id="119" creationId="{73B4ADD4-4A3C-4C07-AD80-C2DBC8730520}"/>
          </ac:spMkLst>
        </pc:spChg>
        <pc:spChg chg="mod">
          <ac:chgData name="Frederick" userId="bb732f183fe92d5e" providerId="LiveId" clId="{43349F25-1AA8-48B6-B15D-870CD0E086F1}" dt="2020-11-13T11:08:28.299" v="1339" actId="20577"/>
          <ac:spMkLst>
            <pc:docMk/>
            <pc:sldMk cId="2751801972" sldId="271"/>
            <ac:spMk id="125" creationId="{04508B79-27FB-4883-8D55-0456198F2C83}"/>
          </ac:spMkLst>
        </pc:spChg>
        <pc:spChg chg="mod">
          <ac:chgData name="Frederick" userId="bb732f183fe92d5e" providerId="LiveId" clId="{43349F25-1AA8-48B6-B15D-870CD0E086F1}" dt="2020-11-13T11:08:37.806" v="1355" actId="20577"/>
          <ac:spMkLst>
            <pc:docMk/>
            <pc:sldMk cId="2751801972" sldId="271"/>
            <ac:spMk id="127" creationId="{836D0F36-063C-411D-9BEF-107535B65FC7}"/>
          </ac:spMkLst>
        </pc:spChg>
        <pc:spChg chg="mod">
          <ac:chgData name="Frederick" userId="bb732f183fe92d5e" providerId="LiveId" clId="{43349F25-1AA8-48B6-B15D-870CD0E086F1}" dt="2020-11-13T11:08:45.522" v="1381" actId="20577"/>
          <ac:spMkLst>
            <pc:docMk/>
            <pc:sldMk cId="2751801972" sldId="271"/>
            <ac:spMk id="129" creationId="{24D5146E-0EBC-4A09-A142-6105017359B8}"/>
          </ac:spMkLst>
        </pc:spChg>
        <pc:spChg chg="mod">
          <ac:chgData name="Frederick" userId="bb732f183fe92d5e" providerId="LiveId" clId="{43349F25-1AA8-48B6-B15D-870CD0E086F1}" dt="2020-11-13T11:08:03.978" v="1321" actId="20577"/>
          <ac:spMkLst>
            <pc:docMk/>
            <pc:sldMk cId="2751801972" sldId="271"/>
            <ac:spMk id="131" creationId="{C1589BDF-957E-4CB6-AFB4-60A676D371DE}"/>
          </ac:spMkLst>
        </pc:spChg>
        <pc:spChg chg="mod">
          <ac:chgData name="Frederick" userId="bb732f183fe92d5e" providerId="LiveId" clId="{43349F25-1AA8-48B6-B15D-870CD0E086F1}" dt="2020-11-13T11:06:23.267" v="1225" actId="20577"/>
          <ac:spMkLst>
            <pc:docMk/>
            <pc:sldMk cId="2751801972" sldId="271"/>
            <ac:spMk id="137" creationId="{28A59CEE-B5A9-4388-8763-0E842FBF6AC5}"/>
          </ac:spMkLst>
        </pc:spChg>
        <pc:spChg chg="mod">
          <ac:chgData name="Frederick" userId="bb732f183fe92d5e" providerId="LiveId" clId="{43349F25-1AA8-48B6-B15D-870CD0E086F1}" dt="2020-11-13T11:06:42.363" v="1237" actId="20577"/>
          <ac:spMkLst>
            <pc:docMk/>
            <pc:sldMk cId="2751801972" sldId="271"/>
            <ac:spMk id="139" creationId="{E146392B-732A-4809-92DE-29057570BB71}"/>
          </ac:spMkLst>
        </pc:spChg>
        <pc:spChg chg="mod">
          <ac:chgData name="Frederick" userId="bb732f183fe92d5e" providerId="LiveId" clId="{43349F25-1AA8-48B6-B15D-870CD0E086F1}" dt="2020-11-14T18:56:27.268" v="2192" actId="20577"/>
          <ac:spMkLst>
            <pc:docMk/>
            <pc:sldMk cId="2751801972" sldId="271"/>
            <ac:spMk id="141" creationId="{4397FB22-E347-4195-AE1D-03338A3505E3}"/>
          </ac:spMkLst>
        </pc:spChg>
        <pc:spChg chg="mod">
          <ac:chgData name="Frederick" userId="bb732f183fe92d5e" providerId="LiveId" clId="{43349F25-1AA8-48B6-B15D-870CD0E086F1}" dt="2020-11-13T11:06:02.203" v="1213" actId="20577"/>
          <ac:spMkLst>
            <pc:docMk/>
            <pc:sldMk cId="2751801972" sldId="271"/>
            <ac:spMk id="143" creationId="{E55A699D-7F77-44DF-8CE0-D1F0A6F79C70}"/>
          </ac:spMkLst>
        </pc:spChg>
        <pc:cxnChg chg="mod">
          <ac:chgData name="Frederick" userId="bb732f183fe92d5e" providerId="LiveId" clId="{43349F25-1AA8-48B6-B15D-870CD0E086F1}" dt="2020-11-13T11:12:20.652" v="1527" actId="208"/>
          <ac:cxnSpMkLst>
            <pc:docMk/>
            <pc:sldMk cId="2751801972" sldId="271"/>
            <ac:cxnSpMk id="30" creationId="{D105B746-982C-45E9-9A02-6B9E6D571B1A}"/>
          </ac:cxnSpMkLst>
        </pc:cxnChg>
        <pc:cxnChg chg="mod">
          <ac:chgData name="Frederick" userId="bb732f183fe92d5e" providerId="LiveId" clId="{43349F25-1AA8-48B6-B15D-870CD0E086F1}" dt="2020-11-13T11:12:20.652" v="1527" actId="208"/>
          <ac:cxnSpMkLst>
            <pc:docMk/>
            <pc:sldMk cId="2751801972" sldId="271"/>
            <ac:cxnSpMk id="43" creationId="{7AE1D119-939B-401E-836B-03F0C8B3A367}"/>
          </ac:cxnSpMkLst>
        </pc:cxnChg>
        <pc:cxnChg chg="mod">
          <ac:chgData name="Frederick" userId="bb732f183fe92d5e" providerId="LiveId" clId="{43349F25-1AA8-48B6-B15D-870CD0E086F1}" dt="2020-11-13T11:12:20.652" v="1527" actId="208"/>
          <ac:cxnSpMkLst>
            <pc:docMk/>
            <pc:sldMk cId="2751801972" sldId="271"/>
            <ac:cxnSpMk id="55" creationId="{21B9B4F1-90F4-4794-925F-72FF9FEE9043}"/>
          </ac:cxnSpMkLst>
        </pc:cxnChg>
        <pc:cxnChg chg="mod">
          <ac:chgData name="Frederick" userId="bb732f183fe92d5e" providerId="LiveId" clId="{43349F25-1AA8-48B6-B15D-870CD0E086F1}" dt="2020-11-13T11:12:20.652" v="1527" actId="208"/>
          <ac:cxnSpMkLst>
            <pc:docMk/>
            <pc:sldMk cId="2751801972" sldId="271"/>
            <ac:cxnSpMk id="67" creationId="{1959D5ED-63EC-45E6-9265-E1D8426FE4F3}"/>
          </ac:cxnSpMkLst>
        </pc:cxnChg>
        <pc:cxnChg chg="mod">
          <ac:chgData name="Frederick" userId="bb732f183fe92d5e" providerId="LiveId" clId="{43349F25-1AA8-48B6-B15D-870CD0E086F1}" dt="2020-11-13T11:12:20.652" v="1527" actId="208"/>
          <ac:cxnSpMkLst>
            <pc:docMk/>
            <pc:sldMk cId="2751801972" sldId="271"/>
            <ac:cxnSpMk id="79" creationId="{0EC742E5-D9B4-441B-8CFA-6D1E4CCD8DC0}"/>
          </ac:cxnSpMkLst>
        </pc:cxnChg>
        <pc:cxnChg chg="mod">
          <ac:chgData name="Frederick" userId="bb732f183fe92d5e" providerId="LiveId" clId="{43349F25-1AA8-48B6-B15D-870CD0E086F1}" dt="2020-11-13T11:12:23.994" v="1528" actId="208"/>
          <ac:cxnSpMkLst>
            <pc:docMk/>
            <pc:sldMk cId="2751801972" sldId="271"/>
            <ac:cxnSpMk id="92" creationId="{E4E845E7-9675-4373-9D1F-8C31E6D1CB0B}"/>
          </ac:cxnSpMkLst>
        </pc:cxnChg>
        <pc:cxnChg chg="mod">
          <ac:chgData name="Frederick" userId="bb732f183fe92d5e" providerId="LiveId" clId="{43349F25-1AA8-48B6-B15D-870CD0E086F1}" dt="2020-11-13T11:12:23.994" v="1528" actId="208"/>
          <ac:cxnSpMkLst>
            <pc:docMk/>
            <pc:sldMk cId="2751801972" sldId="271"/>
            <ac:cxnSpMk id="104" creationId="{56F8B568-4946-40CA-9151-55274F48711A}"/>
          </ac:cxnSpMkLst>
        </pc:cxnChg>
        <pc:cxnChg chg="mod">
          <ac:chgData name="Frederick" userId="bb732f183fe92d5e" providerId="LiveId" clId="{43349F25-1AA8-48B6-B15D-870CD0E086F1}" dt="2020-11-13T11:12:23.994" v="1528" actId="208"/>
          <ac:cxnSpMkLst>
            <pc:docMk/>
            <pc:sldMk cId="2751801972" sldId="271"/>
            <ac:cxnSpMk id="116" creationId="{A6D3A842-71A1-41B1-9918-7783A8ADB15C}"/>
          </ac:cxnSpMkLst>
        </pc:cxnChg>
        <pc:cxnChg chg="mod">
          <ac:chgData name="Frederick" userId="bb732f183fe92d5e" providerId="LiveId" clId="{43349F25-1AA8-48B6-B15D-870CD0E086F1}" dt="2020-11-13T11:12:23.994" v="1528" actId="208"/>
          <ac:cxnSpMkLst>
            <pc:docMk/>
            <pc:sldMk cId="2751801972" sldId="271"/>
            <ac:cxnSpMk id="128" creationId="{C55CF38E-09A1-4782-A98B-2BBDB5935530}"/>
          </ac:cxnSpMkLst>
        </pc:cxnChg>
        <pc:cxnChg chg="mod">
          <ac:chgData name="Frederick" userId="bb732f183fe92d5e" providerId="LiveId" clId="{43349F25-1AA8-48B6-B15D-870CD0E086F1}" dt="2020-11-13T11:12:23.994" v="1528" actId="208"/>
          <ac:cxnSpMkLst>
            <pc:docMk/>
            <pc:sldMk cId="2751801972" sldId="271"/>
            <ac:cxnSpMk id="140" creationId="{BEC28AC8-9B87-479C-8CAC-CD14E666EDDE}"/>
          </ac:cxnSpMkLst>
        </pc:cxnChg>
      </pc:sldChg>
      <pc:sldChg chg="delSp modSp add mod">
        <pc:chgData name="Frederick" userId="bb732f183fe92d5e" providerId="LiveId" clId="{43349F25-1AA8-48B6-B15D-870CD0E086F1}" dt="2020-11-13T11:12:15.594" v="1526" actId="478"/>
        <pc:sldMkLst>
          <pc:docMk/>
          <pc:sldMk cId="221314866" sldId="272"/>
        </pc:sldMkLst>
        <pc:spChg chg="mod">
          <ac:chgData name="Frederick" userId="bb732f183fe92d5e" providerId="LiveId" clId="{43349F25-1AA8-48B6-B15D-870CD0E086F1}" dt="2020-11-13T11:10:26.964" v="1450" actId="1076"/>
          <ac:spMkLst>
            <pc:docMk/>
            <pc:sldMk cId="221314866" sldId="272"/>
            <ac:spMk id="3" creationId="{21C6F757-1A23-4CC2-BEAD-9F4AFCF290E0}"/>
          </ac:spMkLst>
        </pc:spChg>
        <pc:spChg chg="mod">
          <ac:chgData name="Frederick" userId="bb732f183fe92d5e" providerId="LiveId" clId="{43349F25-1AA8-48B6-B15D-870CD0E086F1}" dt="2020-11-13T11:10:37.278" v="1475" actId="20577"/>
          <ac:spMkLst>
            <pc:docMk/>
            <pc:sldMk cId="221314866" sldId="272"/>
            <ac:spMk id="21" creationId="{18B214FB-3F56-4E2A-858B-5A9C8922725F}"/>
          </ac:spMkLst>
        </pc:spChg>
        <pc:spChg chg="mod">
          <ac:chgData name="Frederick" userId="bb732f183fe92d5e" providerId="LiveId" clId="{43349F25-1AA8-48B6-B15D-870CD0E086F1}" dt="2020-11-13T11:10:41.820" v="1485" actId="20577"/>
          <ac:spMkLst>
            <pc:docMk/>
            <pc:sldMk cId="221314866" sldId="272"/>
            <ac:spMk id="25" creationId="{4F7E9342-076C-4D54-9036-2B25C2614605}"/>
          </ac:spMkLst>
        </pc:spChg>
        <pc:spChg chg="mod">
          <ac:chgData name="Frederick" userId="bb732f183fe92d5e" providerId="LiveId" clId="{43349F25-1AA8-48B6-B15D-870CD0E086F1}" dt="2020-11-13T11:10:55.032" v="1501" actId="20577"/>
          <ac:spMkLst>
            <pc:docMk/>
            <pc:sldMk cId="221314866" sldId="272"/>
            <ac:spMk id="27" creationId="{F833485A-57D9-435E-B3FD-45EADBA802D9}"/>
          </ac:spMkLst>
        </pc:spChg>
        <pc:spChg chg="mod">
          <ac:chgData name="Frederick" userId="bb732f183fe92d5e" providerId="LiveId" clId="{43349F25-1AA8-48B6-B15D-870CD0E086F1}" dt="2020-11-13T11:10:58.200" v="1506" actId="20577"/>
          <ac:spMkLst>
            <pc:docMk/>
            <pc:sldMk cId="221314866" sldId="272"/>
            <ac:spMk id="29" creationId="{47318649-5CFD-4325-ADB5-CD9F4D29550E}"/>
          </ac:spMkLst>
        </pc:spChg>
        <pc:spChg chg="mod">
          <ac:chgData name="Frederick" userId="bb732f183fe92d5e" providerId="LiveId" clId="{43349F25-1AA8-48B6-B15D-870CD0E086F1}" dt="2020-11-13T11:11:04.293" v="1518" actId="20577"/>
          <ac:spMkLst>
            <pc:docMk/>
            <pc:sldMk cId="221314866" sldId="272"/>
            <ac:spMk id="31" creationId="{500D79F4-F731-4735-8FDF-ED31DC7FF617}"/>
          </ac:spMkLst>
        </pc:spChg>
        <pc:spChg chg="del">
          <ac:chgData name="Frederick" userId="bb732f183fe92d5e" providerId="LiveId" clId="{43349F25-1AA8-48B6-B15D-870CD0E086F1}" dt="2020-11-13T11:11:32.833" v="1521" actId="478"/>
          <ac:spMkLst>
            <pc:docMk/>
            <pc:sldMk cId="221314866" sldId="272"/>
            <ac:spMk id="38" creationId="{570FF3FC-F7C5-44E8-9CD2-04B7F152E81B}"/>
          </ac:spMkLst>
        </pc:spChg>
        <pc:spChg chg="del">
          <ac:chgData name="Frederick" userId="bb732f183fe92d5e" providerId="LiveId" clId="{43349F25-1AA8-48B6-B15D-870CD0E086F1}" dt="2020-11-13T11:11:31.046" v="1520" actId="478"/>
          <ac:spMkLst>
            <pc:docMk/>
            <pc:sldMk cId="221314866" sldId="272"/>
            <ac:spMk id="40" creationId="{415DEBD6-3445-4AFC-9A10-01CFCF36EA4C}"/>
          </ac:spMkLst>
        </pc:spChg>
        <pc:spChg chg="del">
          <ac:chgData name="Frederick" userId="bb732f183fe92d5e" providerId="LiveId" clId="{43349F25-1AA8-48B6-B15D-870CD0E086F1}" dt="2020-11-13T11:11:31.046" v="1520" actId="478"/>
          <ac:spMkLst>
            <pc:docMk/>
            <pc:sldMk cId="221314866" sldId="272"/>
            <ac:spMk id="42" creationId="{22B7B757-2BC6-420D-8987-3F0354C4D3DB}"/>
          </ac:spMkLst>
        </pc:spChg>
        <pc:spChg chg="del">
          <ac:chgData name="Frederick" userId="bb732f183fe92d5e" providerId="LiveId" clId="{43349F25-1AA8-48B6-B15D-870CD0E086F1}" dt="2020-11-13T11:11:31.046" v="1520" actId="478"/>
          <ac:spMkLst>
            <pc:docMk/>
            <pc:sldMk cId="221314866" sldId="272"/>
            <ac:spMk id="44" creationId="{5E995BA9-96E8-479F-B9CA-1A47D9A9B7C7}"/>
          </ac:spMkLst>
        </pc:spChg>
        <pc:spChg chg="del">
          <ac:chgData name="Frederick" userId="bb732f183fe92d5e" providerId="LiveId" clId="{43349F25-1AA8-48B6-B15D-870CD0E086F1}" dt="2020-11-13T11:11:12.089" v="1519" actId="478"/>
          <ac:spMkLst>
            <pc:docMk/>
            <pc:sldMk cId="221314866" sldId="272"/>
            <ac:spMk id="46" creationId="{262AD893-2DE1-49FB-A1F8-AB2A4AEFAF8A}"/>
          </ac:spMkLst>
        </pc:spChg>
        <pc:spChg chg="del">
          <ac:chgData name="Frederick" userId="bb732f183fe92d5e" providerId="LiveId" clId="{43349F25-1AA8-48B6-B15D-870CD0E086F1}" dt="2020-11-13T11:11:31.046" v="1520" actId="478"/>
          <ac:spMkLst>
            <pc:docMk/>
            <pc:sldMk cId="221314866" sldId="272"/>
            <ac:spMk id="50" creationId="{F967E6B2-3334-4083-988B-8A3FCA974A0D}"/>
          </ac:spMkLst>
        </pc:spChg>
        <pc:spChg chg="del">
          <ac:chgData name="Frederick" userId="bb732f183fe92d5e" providerId="LiveId" clId="{43349F25-1AA8-48B6-B15D-870CD0E086F1}" dt="2020-11-13T11:11:31.046" v="1520" actId="478"/>
          <ac:spMkLst>
            <pc:docMk/>
            <pc:sldMk cId="221314866" sldId="272"/>
            <ac:spMk id="52" creationId="{ABEE5FAF-1273-4921-9D97-08109E9299E4}"/>
          </ac:spMkLst>
        </pc:spChg>
        <pc:spChg chg="del">
          <ac:chgData name="Frederick" userId="bb732f183fe92d5e" providerId="LiveId" clId="{43349F25-1AA8-48B6-B15D-870CD0E086F1}" dt="2020-11-13T11:11:31.046" v="1520" actId="478"/>
          <ac:spMkLst>
            <pc:docMk/>
            <pc:sldMk cId="221314866" sldId="272"/>
            <ac:spMk id="54" creationId="{B368A5DE-610A-4440-8D24-3E0E90E265A8}"/>
          </ac:spMkLst>
        </pc:spChg>
        <pc:spChg chg="del">
          <ac:chgData name="Frederick" userId="bb732f183fe92d5e" providerId="LiveId" clId="{43349F25-1AA8-48B6-B15D-870CD0E086F1}" dt="2020-11-13T11:11:31.046" v="1520" actId="478"/>
          <ac:spMkLst>
            <pc:docMk/>
            <pc:sldMk cId="221314866" sldId="272"/>
            <ac:spMk id="56" creationId="{6ECAE49B-49B5-44DB-851B-D6E8E5D6DD39}"/>
          </ac:spMkLst>
        </pc:spChg>
        <pc:spChg chg="del">
          <ac:chgData name="Frederick" userId="bb732f183fe92d5e" providerId="LiveId" clId="{43349F25-1AA8-48B6-B15D-870CD0E086F1}" dt="2020-11-13T11:11:12.089" v="1519" actId="478"/>
          <ac:spMkLst>
            <pc:docMk/>
            <pc:sldMk cId="221314866" sldId="272"/>
            <ac:spMk id="58" creationId="{75D58FBE-7262-4AD3-94D7-EEE9D8CC8061}"/>
          </ac:spMkLst>
        </pc:spChg>
        <pc:spChg chg="del">
          <ac:chgData name="Frederick" userId="bb732f183fe92d5e" providerId="LiveId" clId="{43349F25-1AA8-48B6-B15D-870CD0E086F1}" dt="2020-11-13T11:11:31.046" v="1520" actId="478"/>
          <ac:spMkLst>
            <pc:docMk/>
            <pc:sldMk cId="221314866" sldId="272"/>
            <ac:spMk id="62" creationId="{E3D2C36B-E47E-44D0-8378-86698D2C6742}"/>
          </ac:spMkLst>
        </pc:spChg>
        <pc:spChg chg="del">
          <ac:chgData name="Frederick" userId="bb732f183fe92d5e" providerId="LiveId" clId="{43349F25-1AA8-48B6-B15D-870CD0E086F1}" dt="2020-11-13T11:11:31.046" v="1520" actId="478"/>
          <ac:spMkLst>
            <pc:docMk/>
            <pc:sldMk cId="221314866" sldId="272"/>
            <ac:spMk id="64" creationId="{AC52331A-3640-4433-9985-D0E554866DC1}"/>
          </ac:spMkLst>
        </pc:spChg>
        <pc:spChg chg="del">
          <ac:chgData name="Frederick" userId="bb732f183fe92d5e" providerId="LiveId" clId="{43349F25-1AA8-48B6-B15D-870CD0E086F1}" dt="2020-11-13T11:11:31.046" v="1520" actId="478"/>
          <ac:spMkLst>
            <pc:docMk/>
            <pc:sldMk cId="221314866" sldId="272"/>
            <ac:spMk id="66" creationId="{0C56D8C7-1EB6-46C5-B660-B04CFF5A882D}"/>
          </ac:spMkLst>
        </pc:spChg>
        <pc:spChg chg="del">
          <ac:chgData name="Frederick" userId="bb732f183fe92d5e" providerId="LiveId" clId="{43349F25-1AA8-48B6-B15D-870CD0E086F1}" dt="2020-11-13T11:11:31.046" v="1520" actId="478"/>
          <ac:spMkLst>
            <pc:docMk/>
            <pc:sldMk cId="221314866" sldId="272"/>
            <ac:spMk id="68" creationId="{77BE63CA-418D-4765-BBBD-FEEE3C3CA747}"/>
          </ac:spMkLst>
        </pc:spChg>
        <pc:spChg chg="del">
          <ac:chgData name="Frederick" userId="bb732f183fe92d5e" providerId="LiveId" clId="{43349F25-1AA8-48B6-B15D-870CD0E086F1}" dt="2020-11-13T11:11:12.089" v="1519" actId="478"/>
          <ac:spMkLst>
            <pc:docMk/>
            <pc:sldMk cId="221314866" sldId="272"/>
            <ac:spMk id="70" creationId="{BD8E9A55-BA7E-43F6-92BA-44701D0D9523}"/>
          </ac:spMkLst>
        </pc:spChg>
        <pc:spChg chg="del">
          <ac:chgData name="Frederick" userId="bb732f183fe92d5e" providerId="LiveId" clId="{43349F25-1AA8-48B6-B15D-870CD0E086F1}" dt="2020-11-13T11:11:31.046" v="1520" actId="478"/>
          <ac:spMkLst>
            <pc:docMk/>
            <pc:sldMk cId="221314866" sldId="272"/>
            <ac:spMk id="74" creationId="{523A4B2F-D5EB-4D75-8D68-ED5582D039A5}"/>
          </ac:spMkLst>
        </pc:spChg>
        <pc:spChg chg="del">
          <ac:chgData name="Frederick" userId="bb732f183fe92d5e" providerId="LiveId" clId="{43349F25-1AA8-48B6-B15D-870CD0E086F1}" dt="2020-11-13T11:11:31.046" v="1520" actId="478"/>
          <ac:spMkLst>
            <pc:docMk/>
            <pc:sldMk cId="221314866" sldId="272"/>
            <ac:spMk id="76" creationId="{E9C36504-7903-4EF4-8529-2EFB2583CCD8}"/>
          </ac:spMkLst>
        </pc:spChg>
        <pc:spChg chg="del">
          <ac:chgData name="Frederick" userId="bb732f183fe92d5e" providerId="LiveId" clId="{43349F25-1AA8-48B6-B15D-870CD0E086F1}" dt="2020-11-13T11:11:31.046" v="1520" actId="478"/>
          <ac:spMkLst>
            <pc:docMk/>
            <pc:sldMk cId="221314866" sldId="272"/>
            <ac:spMk id="78" creationId="{759DBB4E-D593-4C2A-81A0-1A892B3DD2C7}"/>
          </ac:spMkLst>
        </pc:spChg>
        <pc:spChg chg="del">
          <ac:chgData name="Frederick" userId="bb732f183fe92d5e" providerId="LiveId" clId="{43349F25-1AA8-48B6-B15D-870CD0E086F1}" dt="2020-11-13T11:11:31.046" v="1520" actId="478"/>
          <ac:spMkLst>
            <pc:docMk/>
            <pc:sldMk cId="221314866" sldId="272"/>
            <ac:spMk id="80" creationId="{43C50064-121E-4D6A-A44C-9B6A5C05ACE2}"/>
          </ac:spMkLst>
        </pc:spChg>
        <pc:spChg chg="del">
          <ac:chgData name="Frederick" userId="bb732f183fe92d5e" providerId="LiveId" clId="{43349F25-1AA8-48B6-B15D-870CD0E086F1}" dt="2020-11-13T11:11:12.089" v="1519" actId="478"/>
          <ac:spMkLst>
            <pc:docMk/>
            <pc:sldMk cId="221314866" sldId="272"/>
            <ac:spMk id="82" creationId="{EB029431-8705-450C-B990-B1AC884EF044}"/>
          </ac:spMkLst>
        </pc:spChg>
        <pc:spChg chg="del">
          <ac:chgData name="Frederick" userId="bb732f183fe92d5e" providerId="LiveId" clId="{43349F25-1AA8-48B6-B15D-870CD0E086F1}" dt="2020-11-13T11:11:50.322" v="1522" actId="478"/>
          <ac:spMkLst>
            <pc:docMk/>
            <pc:sldMk cId="221314866" sldId="272"/>
            <ac:spMk id="87" creationId="{086C1382-0905-4620-AE95-0FA2816113D1}"/>
          </ac:spMkLst>
        </pc:spChg>
        <pc:spChg chg="del">
          <ac:chgData name="Frederick" userId="bb732f183fe92d5e" providerId="LiveId" clId="{43349F25-1AA8-48B6-B15D-870CD0E086F1}" dt="2020-11-13T11:11:50.322" v="1522" actId="478"/>
          <ac:spMkLst>
            <pc:docMk/>
            <pc:sldMk cId="221314866" sldId="272"/>
            <ac:spMk id="89" creationId="{911931EE-4449-4CCB-ACF8-E1030EDE64BD}"/>
          </ac:spMkLst>
        </pc:spChg>
        <pc:spChg chg="del">
          <ac:chgData name="Frederick" userId="bb732f183fe92d5e" providerId="LiveId" clId="{43349F25-1AA8-48B6-B15D-870CD0E086F1}" dt="2020-11-13T11:11:50.322" v="1522" actId="478"/>
          <ac:spMkLst>
            <pc:docMk/>
            <pc:sldMk cId="221314866" sldId="272"/>
            <ac:spMk id="91" creationId="{F735D81D-84F7-4E22-A75C-2C44173FD5F8}"/>
          </ac:spMkLst>
        </pc:spChg>
        <pc:spChg chg="del">
          <ac:chgData name="Frederick" userId="bb732f183fe92d5e" providerId="LiveId" clId="{43349F25-1AA8-48B6-B15D-870CD0E086F1}" dt="2020-11-13T11:11:50.322" v="1522" actId="478"/>
          <ac:spMkLst>
            <pc:docMk/>
            <pc:sldMk cId="221314866" sldId="272"/>
            <ac:spMk id="93" creationId="{B0AF5CA1-EF57-40B1-9D1C-8A3B701856B2}"/>
          </ac:spMkLst>
        </pc:spChg>
        <pc:spChg chg="del">
          <ac:chgData name="Frederick" userId="bb732f183fe92d5e" providerId="LiveId" clId="{43349F25-1AA8-48B6-B15D-870CD0E086F1}" dt="2020-11-13T11:11:50.322" v="1522" actId="478"/>
          <ac:spMkLst>
            <pc:docMk/>
            <pc:sldMk cId="221314866" sldId="272"/>
            <ac:spMk id="95" creationId="{8E104201-4671-4EF1-A257-0BF6B663B739}"/>
          </ac:spMkLst>
        </pc:spChg>
        <pc:spChg chg="del">
          <ac:chgData name="Frederick" userId="bb732f183fe92d5e" providerId="LiveId" clId="{43349F25-1AA8-48B6-B15D-870CD0E086F1}" dt="2020-11-13T11:12:12.168" v="1525" actId="478"/>
          <ac:spMkLst>
            <pc:docMk/>
            <pc:sldMk cId="221314866" sldId="272"/>
            <ac:spMk id="99" creationId="{A2C2A6E9-6D38-4E86-ABE7-511AC1C23B49}"/>
          </ac:spMkLst>
        </pc:spChg>
        <pc:spChg chg="del">
          <ac:chgData name="Frederick" userId="bb732f183fe92d5e" providerId="LiveId" clId="{43349F25-1AA8-48B6-B15D-870CD0E086F1}" dt="2020-11-13T11:12:12.168" v="1525" actId="478"/>
          <ac:spMkLst>
            <pc:docMk/>
            <pc:sldMk cId="221314866" sldId="272"/>
            <ac:spMk id="101" creationId="{FB2E163B-8A30-4DA5-9088-CE26DB2A067F}"/>
          </ac:spMkLst>
        </pc:spChg>
        <pc:spChg chg="del">
          <ac:chgData name="Frederick" userId="bb732f183fe92d5e" providerId="LiveId" clId="{43349F25-1AA8-48B6-B15D-870CD0E086F1}" dt="2020-11-13T11:12:15.594" v="1526" actId="478"/>
          <ac:spMkLst>
            <pc:docMk/>
            <pc:sldMk cId="221314866" sldId="272"/>
            <ac:spMk id="103" creationId="{3CAB8D30-084E-4D46-82D2-7BBDC387F7E0}"/>
          </ac:spMkLst>
        </pc:spChg>
        <pc:spChg chg="del">
          <ac:chgData name="Frederick" userId="bb732f183fe92d5e" providerId="LiveId" clId="{43349F25-1AA8-48B6-B15D-870CD0E086F1}" dt="2020-11-13T11:12:15.594" v="1526" actId="478"/>
          <ac:spMkLst>
            <pc:docMk/>
            <pc:sldMk cId="221314866" sldId="272"/>
            <ac:spMk id="105" creationId="{0BE94A22-F5A7-46A5-B035-2FC8EC30467A}"/>
          </ac:spMkLst>
        </pc:spChg>
        <pc:spChg chg="del">
          <ac:chgData name="Frederick" userId="bb732f183fe92d5e" providerId="LiveId" clId="{43349F25-1AA8-48B6-B15D-870CD0E086F1}" dt="2020-11-13T11:12:12.168" v="1525" actId="478"/>
          <ac:spMkLst>
            <pc:docMk/>
            <pc:sldMk cId="221314866" sldId="272"/>
            <ac:spMk id="107" creationId="{A28DA0E1-44A7-4FC3-A365-1577A87DFF3D}"/>
          </ac:spMkLst>
        </pc:spChg>
        <pc:spChg chg="del">
          <ac:chgData name="Frederick" userId="bb732f183fe92d5e" providerId="LiveId" clId="{43349F25-1AA8-48B6-B15D-870CD0E086F1}" dt="2020-11-13T11:11:50.322" v="1522" actId="478"/>
          <ac:spMkLst>
            <pc:docMk/>
            <pc:sldMk cId="221314866" sldId="272"/>
            <ac:spMk id="111" creationId="{AD2C150E-C46A-42EF-B146-1F08841A8A53}"/>
          </ac:spMkLst>
        </pc:spChg>
        <pc:spChg chg="del">
          <ac:chgData name="Frederick" userId="bb732f183fe92d5e" providerId="LiveId" clId="{43349F25-1AA8-48B6-B15D-870CD0E086F1}" dt="2020-11-13T11:11:50.322" v="1522" actId="478"/>
          <ac:spMkLst>
            <pc:docMk/>
            <pc:sldMk cId="221314866" sldId="272"/>
            <ac:spMk id="113" creationId="{9D1561BA-78BA-4273-A85C-C5AE57D9C93C}"/>
          </ac:spMkLst>
        </pc:spChg>
        <pc:spChg chg="del">
          <ac:chgData name="Frederick" userId="bb732f183fe92d5e" providerId="LiveId" clId="{43349F25-1AA8-48B6-B15D-870CD0E086F1}" dt="2020-11-13T11:11:50.322" v="1522" actId="478"/>
          <ac:spMkLst>
            <pc:docMk/>
            <pc:sldMk cId="221314866" sldId="272"/>
            <ac:spMk id="115" creationId="{2D9A53EC-100E-4BB8-B1E5-6C5C81B83912}"/>
          </ac:spMkLst>
        </pc:spChg>
        <pc:spChg chg="del">
          <ac:chgData name="Frederick" userId="bb732f183fe92d5e" providerId="LiveId" clId="{43349F25-1AA8-48B6-B15D-870CD0E086F1}" dt="2020-11-13T11:11:50.322" v="1522" actId="478"/>
          <ac:spMkLst>
            <pc:docMk/>
            <pc:sldMk cId="221314866" sldId="272"/>
            <ac:spMk id="117" creationId="{9DE393B4-5550-4173-BB10-A15260A15719}"/>
          </ac:spMkLst>
        </pc:spChg>
        <pc:spChg chg="del">
          <ac:chgData name="Frederick" userId="bb732f183fe92d5e" providerId="LiveId" clId="{43349F25-1AA8-48B6-B15D-870CD0E086F1}" dt="2020-11-13T11:11:50.322" v="1522" actId="478"/>
          <ac:spMkLst>
            <pc:docMk/>
            <pc:sldMk cId="221314866" sldId="272"/>
            <ac:spMk id="119" creationId="{73B4ADD4-4A3C-4C07-AD80-C2DBC8730520}"/>
          </ac:spMkLst>
        </pc:spChg>
        <pc:spChg chg="del">
          <ac:chgData name="Frederick" userId="bb732f183fe92d5e" providerId="LiveId" clId="{43349F25-1AA8-48B6-B15D-870CD0E086F1}" dt="2020-11-13T11:11:50.322" v="1522" actId="478"/>
          <ac:spMkLst>
            <pc:docMk/>
            <pc:sldMk cId="221314866" sldId="272"/>
            <ac:spMk id="123" creationId="{4007BF7F-0E40-4769-BA64-A1F07180DBF5}"/>
          </ac:spMkLst>
        </pc:spChg>
        <pc:spChg chg="del">
          <ac:chgData name="Frederick" userId="bb732f183fe92d5e" providerId="LiveId" clId="{43349F25-1AA8-48B6-B15D-870CD0E086F1}" dt="2020-11-13T11:11:50.322" v="1522" actId="478"/>
          <ac:spMkLst>
            <pc:docMk/>
            <pc:sldMk cId="221314866" sldId="272"/>
            <ac:spMk id="125" creationId="{04508B79-27FB-4883-8D55-0456198F2C83}"/>
          </ac:spMkLst>
        </pc:spChg>
        <pc:spChg chg="del">
          <ac:chgData name="Frederick" userId="bb732f183fe92d5e" providerId="LiveId" clId="{43349F25-1AA8-48B6-B15D-870CD0E086F1}" dt="2020-11-13T11:11:50.322" v="1522" actId="478"/>
          <ac:spMkLst>
            <pc:docMk/>
            <pc:sldMk cId="221314866" sldId="272"/>
            <ac:spMk id="127" creationId="{836D0F36-063C-411D-9BEF-107535B65FC7}"/>
          </ac:spMkLst>
        </pc:spChg>
        <pc:spChg chg="del">
          <ac:chgData name="Frederick" userId="bb732f183fe92d5e" providerId="LiveId" clId="{43349F25-1AA8-48B6-B15D-870CD0E086F1}" dt="2020-11-13T11:11:50.322" v="1522" actId="478"/>
          <ac:spMkLst>
            <pc:docMk/>
            <pc:sldMk cId="221314866" sldId="272"/>
            <ac:spMk id="129" creationId="{24D5146E-0EBC-4A09-A142-6105017359B8}"/>
          </ac:spMkLst>
        </pc:spChg>
        <pc:spChg chg="del">
          <ac:chgData name="Frederick" userId="bb732f183fe92d5e" providerId="LiveId" clId="{43349F25-1AA8-48B6-B15D-870CD0E086F1}" dt="2020-11-13T11:12:12.168" v="1525" actId="478"/>
          <ac:spMkLst>
            <pc:docMk/>
            <pc:sldMk cId="221314866" sldId="272"/>
            <ac:spMk id="131" creationId="{C1589BDF-957E-4CB6-AFB4-60A676D371DE}"/>
          </ac:spMkLst>
        </pc:spChg>
        <pc:spChg chg="del">
          <ac:chgData name="Frederick" userId="bb732f183fe92d5e" providerId="LiveId" clId="{43349F25-1AA8-48B6-B15D-870CD0E086F1}" dt="2020-11-13T11:11:50.322" v="1522" actId="478"/>
          <ac:spMkLst>
            <pc:docMk/>
            <pc:sldMk cId="221314866" sldId="272"/>
            <ac:spMk id="135" creationId="{BC863C98-34D7-4605-BC0C-904EB135FEA9}"/>
          </ac:spMkLst>
        </pc:spChg>
        <pc:spChg chg="del">
          <ac:chgData name="Frederick" userId="bb732f183fe92d5e" providerId="LiveId" clId="{43349F25-1AA8-48B6-B15D-870CD0E086F1}" dt="2020-11-13T11:11:50.322" v="1522" actId="478"/>
          <ac:spMkLst>
            <pc:docMk/>
            <pc:sldMk cId="221314866" sldId="272"/>
            <ac:spMk id="137" creationId="{28A59CEE-B5A9-4388-8763-0E842FBF6AC5}"/>
          </ac:spMkLst>
        </pc:spChg>
        <pc:spChg chg="del">
          <ac:chgData name="Frederick" userId="bb732f183fe92d5e" providerId="LiveId" clId="{43349F25-1AA8-48B6-B15D-870CD0E086F1}" dt="2020-11-13T11:11:50.322" v="1522" actId="478"/>
          <ac:spMkLst>
            <pc:docMk/>
            <pc:sldMk cId="221314866" sldId="272"/>
            <ac:spMk id="139" creationId="{E146392B-732A-4809-92DE-29057570BB71}"/>
          </ac:spMkLst>
        </pc:spChg>
        <pc:spChg chg="del">
          <ac:chgData name="Frederick" userId="bb732f183fe92d5e" providerId="LiveId" clId="{43349F25-1AA8-48B6-B15D-870CD0E086F1}" dt="2020-11-13T11:11:50.322" v="1522" actId="478"/>
          <ac:spMkLst>
            <pc:docMk/>
            <pc:sldMk cId="221314866" sldId="272"/>
            <ac:spMk id="141" creationId="{4397FB22-E347-4195-AE1D-03338A3505E3}"/>
          </ac:spMkLst>
        </pc:spChg>
        <pc:spChg chg="del">
          <ac:chgData name="Frederick" userId="bb732f183fe92d5e" providerId="LiveId" clId="{43349F25-1AA8-48B6-B15D-870CD0E086F1}" dt="2020-11-13T11:11:50.322" v="1522" actId="478"/>
          <ac:spMkLst>
            <pc:docMk/>
            <pc:sldMk cId="221314866" sldId="272"/>
            <ac:spMk id="143" creationId="{E55A699D-7F77-44DF-8CE0-D1F0A6F79C70}"/>
          </ac:spMkLst>
        </pc:spChg>
        <pc:cxnChg chg="mod">
          <ac:chgData name="Frederick" userId="bb732f183fe92d5e" providerId="LiveId" clId="{43349F25-1AA8-48B6-B15D-870CD0E086F1}" dt="2020-11-13T11:12:01.981" v="1523" actId="208"/>
          <ac:cxnSpMkLst>
            <pc:docMk/>
            <pc:sldMk cId="221314866" sldId="272"/>
            <ac:cxnSpMk id="30" creationId="{D105B746-982C-45E9-9A02-6B9E6D571B1A}"/>
          </ac:cxnSpMkLst>
        </pc:cxnChg>
        <pc:cxnChg chg="mod">
          <ac:chgData name="Frederick" userId="bb732f183fe92d5e" providerId="LiveId" clId="{43349F25-1AA8-48B6-B15D-870CD0E086F1}" dt="2020-11-13T11:12:01.981" v="1523" actId="208"/>
          <ac:cxnSpMkLst>
            <pc:docMk/>
            <pc:sldMk cId="221314866" sldId="272"/>
            <ac:cxnSpMk id="43" creationId="{7AE1D119-939B-401E-836B-03F0C8B3A367}"/>
          </ac:cxnSpMkLst>
        </pc:cxnChg>
        <pc:cxnChg chg="mod">
          <ac:chgData name="Frederick" userId="bb732f183fe92d5e" providerId="LiveId" clId="{43349F25-1AA8-48B6-B15D-870CD0E086F1}" dt="2020-11-13T11:12:01.981" v="1523" actId="208"/>
          <ac:cxnSpMkLst>
            <pc:docMk/>
            <pc:sldMk cId="221314866" sldId="272"/>
            <ac:cxnSpMk id="55" creationId="{21B9B4F1-90F4-4794-925F-72FF9FEE9043}"/>
          </ac:cxnSpMkLst>
        </pc:cxnChg>
        <pc:cxnChg chg="mod">
          <ac:chgData name="Frederick" userId="bb732f183fe92d5e" providerId="LiveId" clId="{43349F25-1AA8-48B6-B15D-870CD0E086F1}" dt="2020-11-13T11:12:01.981" v="1523" actId="208"/>
          <ac:cxnSpMkLst>
            <pc:docMk/>
            <pc:sldMk cId="221314866" sldId="272"/>
            <ac:cxnSpMk id="67" creationId="{1959D5ED-63EC-45E6-9265-E1D8426FE4F3}"/>
          </ac:cxnSpMkLst>
        </pc:cxnChg>
        <pc:cxnChg chg="mod">
          <ac:chgData name="Frederick" userId="bb732f183fe92d5e" providerId="LiveId" clId="{43349F25-1AA8-48B6-B15D-870CD0E086F1}" dt="2020-11-13T11:12:01.981" v="1523" actId="208"/>
          <ac:cxnSpMkLst>
            <pc:docMk/>
            <pc:sldMk cId="221314866" sldId="272"/>
            <ac:cxnSpMk id="79" creationId="{0EC742E5-D9B4-441B-8CFA-6D1E4CCD8DC0}"/>
          </ac:cxnSpMkLst>
        </pc:cxnChg>
        <pc:cxnChg chg="mod">
          <ac:chgData name="Frederick" userId="bb732f183fe92d5e" providerId="LiveId" clId="{43349F25-1AA8-48B6-B15D-870CD0E086F1}" dt="2020-11-13T11:12:06.118" v="1524" actId="208"/>
          <ac:cxnSpMkLst>
            <pc:docMk/>
            <pc:sldMk cId="221314866" sldId="272"/>
            <ac:cxnSpMk id="92" creationId="{E4E845E7-9675-4373-9D1F-8C31E6D1CB0B}"/>
          </ac:cxnSpMkLst>
        </pc:cxnChg>
        <pc:cxnChg chg="mod">
          <ac:chgData name="Frederick" userId="bb732f183fe92d5e" providerId="LiveId" clId="{43349F25-1AA8-48B6-B15D-870CD0E086F1}" dt="2020-11-13T11:12:06.118" v="1524" actId="208"/>
          <ac:cxnSpMkLst>
            <pc:docMk/>
            <pc:sldMk cId="221314866" sldId="272"/>
            <ac:cxnSpMk id="104" creationId="{56F8B568-4946-40CA-9151-55274F48711A}"/>
          </ac:cxnSpMkLst>
        </pc:cxnChg>
        <pc:cxnChg chg="mod">
          <ac:chgData name="Frederick" userId="bb732f183fe92d5e" providerId="LiveId" clId="{43349F25-1AA8-48B6-B15D-870CD0E086F1}" dt="2020-11-13T11:12:06.118" v="1524" actId="208"/>
          <ac:cxnSpMkLst>
            <pc:docMk/>
            <pc:sldMk cId="221314866" sldId="272"/>
            <ac:cxnSpMk id="116" creationId="{A6D3A842-71A1-41B1-9918-7783A8ADB15C}"/>
          </ac:cxnSpMkLst>
        </pc:cxnChg>
        <pc:cxnChg chg="mod">
          <ac:chgData name="Frederick" userId="bb732f183fe92d5e" providerId="LiveId" clId="{43349F25-1AA8-48B6-B15D-870CD0E086F1}" dt="2020-11-13T11:12:06.118" v="1524" actId="208"/>
          <ac:cxnSpMkLst>
            <pc:docMk/>
            <pc:sldMk cId="221314866" sldId="272"/>
            <ac:cxnSpMk id="128" creationId="{C55CF38E-09A1-4782-A98B-2BBDB5935530}"/>
          </ac:cxnSpMkLst>
        </pc:cxnChg>
        <pc:cxnChg chg="mod">
          <ac:chgData name="Frederick" userId="bb732f183fe92d5e" providerId="LiveId" clId="{43349F25-1AA8-48B6-B15D-870CD0E086F1}" dt="2020-11-13T11:12:06.118" v="1524" actId="208"/>
          <ac:cxnSpMkLst>
            <pc:docMk/>
            <pc:sldMk cId="221314866" sldId="272"/>
            <ac:cxnSpMk id="140" creationId="{BEC28AC8-9B87-479C-8CAC-CD14E666EDDE}"/>
          </ac:cxnSpMkLst>
        </pc:cxnChg>
      </pc:sldChg>
      <pc:sldChg chg="modSp add mod">
        <pc:chgData name="Frederick" userId="bb732f183fe92d5e" providerId="LiveId" clId="{43349F25-1AA8-48B6-B15D-870CD0E086F1}" dt="2020-11-14T18:56:44.174" v="2200" actId="20577"/>
        <pc:sldMkLst>
          <pc:docMk/>
          <pc:sldMk cId="2803101717" sldId="273"/>
        </pc:sldMkLst>
        <pc:spChg chg="mod">
          <ac:chgData name="Frederick" userId="bb732f183fe92d5e" providerId="LiveId" clId="{43349F25-1AA8-48B6-B15D-870CD0E086F1}" dt="2020-11-14T18:38:20.945" v="1626" actId="20577"/>
          <ac:spMkLst>
            <pc:docMk/>
            <pc:sldMk cId="2803101717" sldId="273"/>
            <ac:spMk id="21" creationId="{18B214FB-3F56-4E2A-858B-5A9C8922725F}"/>
          </ac:spMkLst>
        </pc:spChg>
        <pc:spChg chg="mod">
          <ac:chgData name="Frederick" userId="bb732f183fe92d5e" providerId="LiveId" clId="{43349F25-1AA8-48B6-B15D-870CD0E086F1}" dt="2020-11-14T18:43:03.444" v="1717" actId="20577"/>
          <ac:spMkLst>
            <pc:docMk/>
            <pc:sldMk cId="2803101717" sldId="273"/>
            <ac:spMk id="27" creationId="{F833485A-57D9-435E-B3FD-45EADBA802D9}"/>
          </ac:spMkLst>
        </pc:spChg>
        <pc:spChg chg="mod">
          <ac:chgData name="Frederick" userId="bb732f183fe92d5e" providerId="LiveId" clId="{43349F25-1AA8-48B6-B15D-870CD0E086F1}" dt="2020-11-14T18:43:40.552" v="1726" actId="20577"/>
          <ac:spMkLst>
            <pc:docMk/>
            <pc:sldMk cId="2803101717" sldId="273"/>
            <ac:spMk id="29" creationId="{47318649-5CFD-4325-ADB5-CD9F4D29550E}"/>
          </ac:spMkLst>
        </pc:spChg>
        <pc:spChg chg="mod">
          <ac:chgData name="Frederick" userId="bb732f183fe92d5e" providerId="LiveId" clId="{43349F25-1AA8-48B6-B15D-870CD0E086F1}" dt="2020-11-14T18:43:46.332" v="1741" actId="20577"/>
          <ac:spMkLst>
            <pc:docMk/>
            <pc:sldMk cId="2803101717" sldId="273"/>
            <ac:spMk id="31" creationId="{500D79F4-F731-4735-8FDF-ED31DC7FF617}"/>
          </ac:spMkLst>
        </pc:spChg>
        <pc:spChg chg="mod">
          <ac:chgData name="Frederick" userId="bb732f183fe92d5e" providerId="LiveId" clId="{43349F25-1AA8-48B6-B15D-870CD0E086F1}" dt="2020-11-14T18:47:58.025" v="1956" actId="20577"/>
          <ac:spMkLst>
            <pc:docMk/>
            <pc:sldMk cId="2803101717" sldId="273"/>
            <ac:spMk id="40" creationId="{415DEBD6-3445-4AFC-9A10-01CFCF36EA4C}"/>
          </ac:spMkLst>
        </pc:spChg>
        <pc:spChg chg="mod">
          <ac:chgData name="Frederick" userId="bb732f183fe92d5e" providerId="LiveId" clId="{43349F25-1AA8-48B6-B15D-870CD0E086F1}" dt="2020-11-14T18:48:08.144" v="1970" actId="20577"/>
          <ac:spMkLst>
            <pc:docMk/>
            <pc:sldMk cId="2803101717" sldId="273"/>
            <ac:spMk id="42" creationId="{22B7B757-2BC6-420D-8987-3F0354C4D3DB}"/>
          </ac:spMkLst>
        </pc:spChg>
        <pc:spChg chg="mod">
          <ac:chgData name="Frederick" userId="bb732f183fe92d5e" providerId="LiveId" clId="{43349F25-1AA8-48B6-B15D-870CD0E086F1}" dt="2020-11-14T18:48:14.239" v="1979" actId="20577"/>
          <ac:spMkLst>
            <pc:docMk/>
            <pc:sldMk cId="2803101717" sldId="273"/>
            <ac:spMk id="44" creationId="{5E995BA9-96E8-479F-B9CA-1A47D9A9B7C7}"/>
          </ac:spMkLst>
        </pc:spChg>
        <pc:spChg chg="mod">
          <ac:chgData name="Frederick" userId="bb732f183fe92d5e" providerId="LiveId" clId="{43349F25-1AA8-48B6-B15D-870CD0E086F1}" dt="2020-11-14T18:38:58.321" v="1648" actId="20577"/>
          <ac:spMkLst>
            <pc:docMk/>
            <pc:sldMk cId="2803101717" sldId="273"/>
            <ac:spMk id="46" creationId="{262AD893-2DE1-49FB-A1F8-AB2A4AEFAF8A}"/>
          </ac:spMkLst>
        </pc:spChg>
        <pc:spChg chg="mod">
          <ac:chgData name="Frederick" userId="bb732f183fe92d5e" providerId="LiveId" clId="{43349F25-1AA8-48B6-B15D-870CD0E086F1}" dt="2020-11-14T18:46:55.559" v="1913" actId="20577"/>
          <ac:spMkLst>
            <pc:docMk/>
            <pc:sldMk cId="2803101717" sldId="273"/>
            <ac:spMk id="52" creationId="{ABEE5FAF-1273-4921-9D97-08109E9299E4}"/>
          </ac:spMkLst>
        </pc:spChg>
        <pc:spChg chg="mod">
          <ac:chgData name="Frederick" userId="bb732f183fe92d5e" providerId="LiveId" clId="{43349F25-1AA8-48B6-B15D-870CD0E086F1}" dt="2020-11-14T18:46:09.129" v="1902" actId="20577"/>
          <ac:spMkLst>
            <pc:docMk/>
            <pc:sldMk cId="2803101717" sldId="273"/>
            <ac:spMk id="54" creationId="{B368A5DE-610A-4440-8D24-3E0E90E265A8}"/>
          </ac:spMkLst>
        </pc:spChg>
        <pc:spChg chg="mod">
          <ac:chgData name="Frederick" userId="bb732f183fe92d5e" providerId="LiveId" clId="{43349F25-1AA8-48B6-B15D-870CD0E086F1}" dt="2020-11-14T18:45:57.959" v="1901" actId="20577"/>
          <ac:spMkLst>
            <pc:docMk/>
            <pc:sldMk cId="2803101717" sldId="273"/>
            <ac:spMk id="56" creationId="{6ECAE49B-49B5-44DB-851B-D6E8E5D6DD39}"/>
          </ac:spMkLst>
        </pc:spChg>
        <pc:spChg chg="mod">
          <ac:chgData name="Frederick" userId="bb732f183fe92d5e" providerId="LiveId" clId="{43349F25-1AA8-48B6-B15D-870CD0E086F1}" dt="2020-11-14T18:38:26.731" v="1630" actId="20577"/>
          <ac:spMkLst>
            <pc:docMk/>
            <pc:sldMk cId="2803101717" sldId="273"/>
            <ac:spMk id="58" creationId="{75D58FBE-7262-4AD3-94D7-EEE9D8CC8061}"/>
          </ac:spMkLst>
        </pc:spChg>
        <pc:spChg chg="mod">
          <ac:chgData name="Frederick" userId="bb732f183fe92d5e" providerId="LiveId" clId="{43349F25-1AA8-48B6-B15D-870CD0E086F1}" dt="2020-11-14T18:47:13.353" v="1920" actId="20577"/>
          <ac:spMkLst>
            <pc:docMk/>
            <pc:sldMk cId="2803101717" sldId="273"/>
            <ac:spMk id="64" creationId="{AC52331A-3640-4433-9985-D0E554866DC1}"/>
          </ac:spMkLst>
        </pc:spChg>
        <pc:spChg chg="mod">
          <ac:chgData name="Frederick" userId="bb732f183fe92d5e" providerId="LiveId" clId="{43349F25-1AA8-48B6-B15D-870CD0E086F1}" dt="2020-11-14T18:47:42.898" v="1945" actId="20577"/>
          <ac:spMkLst>
            <pc:docMk/>
            <pc:sldMk cId="2803101717" sldId="273"/>
            <ac:spMk id="66" creationId="{0C56D8C7-1EB6-46C5-B660-B04CFF5A882D}"/>
          </ac:spMkLst>
        </pc:spChg>
        <pc:spChg chg="mod">
          <ac:chgData name="Frederick" userId="bb732f183fe92d5e" providerId="LiveId" clId="{43349F25-1AA8-48B6-B15D-870CD0E086F1}" dt="2020-11-14T18:47:31.164" v="1934" actId="20577"/>
          <ac:spMkLst>
            <pc:docMk/>
            <pc:sldMk cId="2803101717" sldId="273"/>
            <ac:spMk id="68" creationId="{77BE63CA-418D-4765-BBBD-FEEE3C3CA747}"/>
          </ac:spMkLst>
        </pc:spChg>
        <pc:spChg chg="mod">
          <ac:chgData name="Frederick" userId="bb732f183fe92d5e" providerId="LiveId" clId="{43349F25-1AA8-48B6-B15D-870CD0E086F1}" dt="2020-11-14T18:38:39.036" v="1640" actId="20577"/>
          <ac:spMkLst>
            <pc:docMk/>
            <pc:sldMk cId="2803101717" sldId="273"/>
            <ac:spMk id="70" creationId="{BD8E9A55-BA7E-43F6-92BA-44701D0D9523}"/>
          </ac:spMkLst>
        </pc:spChg>
        <pc:spChg chg="mod">
          <ac:chgData name="Frederick" userId="bb732f183fe92d5e" providerId="LiveId" clId="{43349F25-1AA8-48B6-B15D-870CD0E086F1}" dt="2020-11-14T18:44:48.799" v="1807" actId="20577"/>
          <ac:spMkLst>
            <pc:docMk/>
            <pc:sldMk cId="2803101717" sldId="273"/>
            <ac:spMk id="74" creationId="{523A4B2F-D5EB-4D75-8D68-ED5582D039A5}"/>
          </ac:spMkLst>
        </pc:spChg>
        <pc:spChg chg="mod">
          <ac:chgData name="Frederick" userId="bb732f183fe92d5e" providerId="LiveId" clId="{43349F25-1AA8-48B6-B15D-870CD0E086F1}" dt="2020-11-14T18:45:11.407" v="1839" actId="20577"/>
          <ac:spMkLst>
            <pc:docMk/>
            <pc:sldMk cId="2803101717" sldId="273"/>
            <ac:spMk id="76" creationId="{E9C36504-7903-4EF4-8529-2EFB2583CCD8}"/>
          </ac:spMkLst>
        </pc:spChg>
        <pc:spChg chg="mod">
          <ac:chgData name="Frederick" userId="bb732f183fe92d5e" providerId="LiveId" clId="{43349F25-1AA8-48B6-B15D-870CD0E086F1}" dt="2020-11-14T18:45:44.559" v="1879" actId="20577"/>
          <ac:spMkLst>
            <pc:docMk/>
            <pc:sldMk cId="2803101717" sldId="273"/>
            <ac:spMk id="78" creationId="{759DBB4E-D593-4C2A-81A0-1A892B3DD2C7}"/>
          </ac:spMkLst>
        </pc:spChg>
        <pc:spChg chg="mod">
          <ac:chgData name="Frederick" userId="bb732f183fe92d5e" providerId="LiveId" clId="{43349F25-1AA8-48B6-B15D-870CD0E086F1}" dt="2020-11-14T18:48:28.562" v="1980" actId="6549"/>
          <ac:spMkLst>
            <pc:docMk/>
            <pc:sldMk cId="2803101717" sldId="273"/>
            <ac:spMk id="80" creationId="{43C50064-121E-4D6A-A44C-9B6A5C05ACE2}"/>
          </ac:spMkLst>
        </pc:spChg>
        <pc:spChg chg="mod">
          <ac:chgData name="Frederick" userId="bb732f183fe92d5e" providerId="LiveId" clId="{43349F25-1AA8-48B6-B15D-870CD0E086F1}" dt="2020-11-14T18:38:22.994" v="1628" actId="20577"/>
          <ac:spMkLst>
            <pc:docMk/>
            <pc:sldMk cId="2803101717" sldId="273"/>
            <ac:spMk id="82" creationId="{EB029431-8705-450C-B990-B1AC884EF044}"/>
          </ac:spMkLst>
        </pc:spChg>
        <pc:spChg chg="mod">
          <ac:chgData name="Frederick" userId="bb732f183fe92d5e" providerId="LiveId" clId="{43349F25-1AA8-48B6-B15D-870CD0E086F1}" dt="2020-11-14T18:43:56.108" v="1760" actId="20577"/>
          <ac:spMkLst>
            <pc:docMk/>
            <pc:sldMk cId="2803101717" sldId="273"/>
            <ac:spMk id="89" creationId="{911931EE-4449-4CCB-ACF8-E1030EDE64BD}"/>
          </ac:spMkLst>
        </pc:spChg>
        <pc:spChg chg="mod">
          <ac:chgData name="Frederick" userId="bb732f183fe92d5e" providerId="LiveId" clId="{43349F25-1AA8-48B6-B15D-870CD0E086F1}" dt="2020-11-14T18:51:19.240" v="2055" actId="20577"/>
          <ac:spMkLst>
            <pc:docMk/>
            <pc:sldMk cId="2803101717" sldId="273"/>
            <ac:spMk id="91" creationId="{F735D81D-84F7-4E22-A75C-2C44173FD5F8}"/>
          </ac:spMkLst>
        </pc:spChg>
        <pc:spChg chg="mod">
          <ac:chgData name="Frederick" userId="bb732f183fe92d5e" providerId="LiveId" clId="{43349F25-1AA8-48B6-B15D-870CD0E086F1}" dt="2020-11-14T18:44:38.302" v="1794" actId="20577"/>
          <ac:spMkLst>
            <pc:docMk/>
            <pc:sldMk cId="2803101717" sldId="273"/>
            <ac:spMk id="93" creationId="{B0AF5CA1-EF57-40B1-9D1C-8A3B701856B2}"/>
          </ac:spMkLst>
        </pc:spChg>
        <pc:spChg chg="mod">
          <ac:chgData name="Frederick" userId="bb732f183fe92d5e" providerId="LiveId" clId="{43349F25-1AA8-48B6-B15D-870CD0E086F1}" dt="2020-11-14T18:39:26.189" v="1662" actId="20577"/>
          <ac:spMkLst>
            <pc:docMk/>
            <pc:sldMk cId="2803101717" sldId="273"/>
            <ac:spMk id="95" creationId="{8E104201-4671-4EF1-A257-0BF6B663B739}"/>
          </ac:spMkLst>
        </pc:spChg>
        <pc:spChg chg="mod">
          <ac:chgData name="Frederick" userId="bb732f183fe92d5e" providerId="LiveId" clId="{43349F25-1AA8-48B6-B15D-870CD0E086F1}" dt="2020-11-14T18:53:38.252" v="2100" actId="20577"/>
          <ac:spMkLst>
            <pc:docMk/>
            <pc:sldMk cId="2803101717" sldId="273"/>
            <ac:spMk id="99" creationId="{A2C2A6E9-6D38-4E86-ABE7-511AC1C23B49}"/>
          </ac:spMkLst>
        </pc:spChg>
        <pc:spChg chg="mod">
          <ac:chgData name="Frederick" userId="bb732f183fe92d5e" providerId="LiveId" clId="{43349F25-1AA8-48B6-B15D-870CD0E086F1}" dt="2020-11-14T18:54:05.155" v="2118" actId="20577"/>
          <ac:spMkLst>
            <pc:docMk/>
            <pc:sldMk cId="2803101717" sldId="273"/>
            <ac:spMk id="101" creationId="{FB2E163B-8A30-4DA5-9088-CE26DB2A067F}"/>
          </ac:spMkLst>
        </pc:spChg>
        <pc:spChg chg="mod">
          <ac:chgData name="Frederick" userId="bb732f183fe92d5e" providerId="LiveId" clId="{43349F25-1AA8-48B6-B15D-870CD0E086F1}" dt="2020-11-14T18:54:15.204" v="2131" actId="20577"/>
          <ac:spMkLst>
            <pc:docMk/>
            <pc:sldMk cId="2803101717" sldId="273"/>
            <ac:spMk id="103" creationId="{3CAB8D30-084E-4D46-82D2-7BBDC387F7E0}"/>
          </ac:spMkLst>
        </pc:spChg>
        <pc:spChg chg="mod">
          <ac:chgData name="Frederick" userId="bb732f183fe92d5e" providerId="LiveId" clId="{43349F25-1AA8-48B6-B15D-870CD0E086F1}" dt="2020-11-14T18:54:27.291" v="2141" actId="20577"/>
          <ac:spMkLst>
            <pc:docMk/>
            <pc:sldMk cId="2803101717" sldId="273"/>
            <ac:spMk id="105" creationId="{0BE94A22-F5A7-46A5-B035-2FC8EC30467A}"/>
          </ac:spMkLst>
        </pc:spChg>
        <pc:spChg chg="mod">
          <ac:chgData name="Frederick" userId="bb732f183fe92d5e" providerId="LiveId" clId="{43349F25-1AA8-48B6-B15D-870CD0E086F1}" dt="2020-11-14T18:40:33.584" v="1707" actId="20577"/>
          <ac:spMkLst>
            <pc:docMk/>
            <pc:sldMk cId="2803101717" sldId="273"/>
            <ac:spMk id="107" creationId="{A28DA0E1-44A7-4FC3-A365-1577A87DFF3D}"/>
          </ac:spMkLst>
        </pc:spChg>
        <pc:spChg chg="mod">
          <ac:chgData name="Frederick" userId="bb732f183fe92d5e" providerId="LiveId" clId="{43349F25-1AA8-48B6-B15D-870CD0E086F1}" dt="2020-11-14T18:51:53.526" v="2069" actId="20577"/>
          <ac:spMkLst>
            <pc:docMk/>
            <pc:sldMk cId="2803101717" sldId="273"/>
            <ac:spMk id="113" creationId="{9D1561BA-78BA-4273-A85C-C5AE57D9C93C}"/>
          </ac:spMkLst>
        </pc:spChg>
        <pc:spChg chg="mod">
          <ac:chgData name="Frederick" userId="bb732f183fe92d5e" providerId="LiveId" clId="{43349F25-1AA8-48B6-B15D-870CD0E086F1}" dt="2020-11-14T18:51:33.161" v="2057" actId="20577"/>
          <ac:spMkLst>
            <pc:docMk/>
            <pc:sldMk cId="2803101717" sldId="273"/>
            <ac:spMk id="117" creationId="{9DE393B4-5550-4173-BB10-A15260A15719}"/>
          </ac:spMkLst>
        </pc:spChg>
        <pc:spChg chg="mod">
          <ac:chgData name="Frederick" userId="bb732f183fe92d5e" providerId="LiveId" clId="{43349F25-1AA8-48B6-B15D-870CD0E086F1}" dt="2020-11-14T18:51:57.137" v="2071" actId="20577"/>
          <ac:spMkLst>
            <pc:docMk/>
            <pc:sldMk cId="2803101717" sldId="273"/>
            <ac:spMk id="119" creationId="{73B4ADD4-4A3C-4C07-AD80-C2DBC8730520}"/>
          </ac:spMkLst>
        </pc:spChg>
        <pc:spChg chg="mod">
          <ac:chgData name="Frederick" userId="bb732f183fe92d5e" providerId="LiveId" clId="{43349F25-1AA8-48B6-B15D-870CD0E086F1}" dt="2020-11-14T18:52:52.626" v="2072" actId="20577"/>
          <ac:spMkLst>
            <pc:docMk/>
            <pc:sldMk cId="2803101717" sldId="273"/>
            <ac:spMk id="125" creationId="{04508B79-27FB-4883-8D55-0456198F2C83}"/>
          </ac:spMkLst>
        </pc:spChg>
        <pc:spChg chg="mod">
          <ac:chgData name="Frederick" userId="bb732f183fe92d5e" providerId="LiveId" clId="{43349F25-1AA8-48B6-B15D-870CD0E086F1}" dt="2020-11-14T18:53:10.049" v="2080" actId="20577"/>
          <ac:spMkLst>
            <pc:docMk/>
            <pc:sldMk cId="2803101717" sldId="273"/>
            <ac:spMk id="127" creationId="{836D0F36-063C-411D-9BEF-107535B65FC7}"/>
          </ac:spMkLst>
        </pc:spChg>
        <pc:spChg chg="mod">
          <ac:chgData name="Frederick" userId="bb732f183fe92d5e" providerId="LiveId" clId="{43349F25-1AA8-48B6-B15D-870CD0E086F1}" dt="2020-11-14T18:53:30.636" v="2099" actId="313"/>
          <ac:spMkLst>
            <pc:docMk/>
            <pc:sldMk cId="2803101717" sldId="273"/>
            <ac:spMk id="129" creationId="{24D5146E-0EBC-4A09-A142-6105017359B8}"/>
          </ac:spMkLst>
        </pc:spChg>
        <pc:spChg chg="mod">
          <ac:chgData name="Frederick" userId="bb732f183fe92d5e" providerId="LiveId" clId="{43349F25-1AA8-48B6-B15D-870CD0E086F1}" dt="2020-11-14T18:56:44.174" v="2200" actId="20577"/>
          <ac:spMkLst>
            <pc:docMk/>
            <pc:sldMk cId="2803101717" sldId="273"/>
            <ac:spMk id="131" creationId="{C1589BDF-957E-4CB6-AFB4-60A676D371DE}"/>
          </ac:spMkLst>
        </pc:spChg>
        <pc:spChg chg="mod">
          <ac:chgData name="Frederick" userId="bb732f183fe92d5e" providerId="LiveId" clId="{43349F25-1AA8-48B6-B15D-870CD0E086F1}" dt="2020-11-14T18:50:15.957" v="2012" actId="20577"/>
          <ac:spMkLst>
            <pc:docMk/>
            <pc:sldMk cId="2803101717" sldId="273"/>
            <ac:spMk id="135" creationId="{BC863C98-34D7-4605-BC0C-904EB135FEA9}"/>
          </ac:spMkLst>
        </pc:spChg>
        <pc:spChg chg="mod">
          <ac:chgData name="Frederick" userId="bb732f183fe92d5e" providerId="LiveId" clId="{43349F25-1AA8-48B6-B15D-870CD0E086F1}" dt="2020-11-14T18:51:11.217" v="2050" actId="20577"/>
          <ac:spMkLst>
            <pc:docMk/>
            <pc:sldMk cId="2803101717" sldId="273"/>
            <ac:spMk id="137" creationId="{28A59CEE-B5A9-4388-8763-0E842FBF6AC5}"/>
          </ac:spMkLst>
        </pc:spChg>
        <pc:spChg chg="mod">
          <ac:chgData name="Frederick" userId="bb732f183fe92d5e" providerId="LiveId" clId="{43349F25-1AA8-48B6-B15D-870CD0E086F1}" dt="2020-11-14T18:50:34.760" v="2037" actId="20577"/>
          <ac:spMkLst>
            <pc:docMk/>
            <pc:sldMk cId="2803101717" sldId="273"/>
            <ac:spMk id="141" creationId="{4397FB22-E347-4195-AE1D-03338A3505E3}"/>
          </ac:spMkLst>
        </pc:spChg>
        <pc:spChg chg="mod">
          <ac:chgData name="Frederick" userId="bb732f183fe92d5e" providerId="LiveId" clId="{43349F25-1AA8-48B6-B15D-870CD0E086F1}" dt="2020-11-14T18:39:35.987" v="1672" actId="20577"/>
          <ac:spMkLst>
            <pc:docMk/>
            <pc:sldMk cId="2803101717" sldId="273"/>
            <ac:spMk id="143" creationId="{E55A699D-7F77-44DF-8CE0-D1F0A6F79C70}"/>
          </ac:spMkLst>
        </pc:spChg>
      </pc:sldChg>
    </pc:docChg>
  </pc:docChgLst>
  <pc:docChgLst>
    <pc:chgData name="Frederick King" userId="bb732f183fe92d5e" providerId="LiveId" clId="{CE707BC2-1366-4A58-9D2D-1028B22DF9AE}"/>
    <pc:docChg chg="undo custSel modSld">
      <pc:chgData name="Frederick King" userId="bb732f183fe92d5e" providerId="LiveId" clId="{CE707BC2-1366-4A58-9D2D-1028B22DF9AE}" dt="2021-05-10T12:06:00.264" v="143" actId="20577"/>
      <pc:docMkLst>
        <pc:docMk/>
      </pc:docMkLst>
      <pc:sldChg chg="modSp mod">
        <pc:chgData name="Frederick King" userId="bb732f183fe92d5e" providerId="LiveId" clId="{CE707BC2-1366-4A58-9D2D-1028B22DF9AE}" dt="2021-05-10T12:06:00.264" v="143" actId="20577"/>
        <pc:sldMkLst>
          <pc:docMk/>
          <pc:sldMk cId="4093805697" sldId="296"/>
        </pc:sldMkLst>
        <pc:spChg chg="mod">
          <ac:chgData name="Frederick King" userId="bb732f183fe92d5e" providerId="LiveId" clId="{CE707BC2-1366-4A58-9D2D-1028B22DF9AE}" dt="2021-05-10T12:06:00.264" v="143" actId="20577"/>
          <ac:spMkLst>
            <pc:docMk/>
            <pc:sldMk cId="4093805697" sldId="296"/>
            <ac:spMk id="5" creationId="{28F20F95-7F03-440B-B47C-B1F7B4508CB0}"/>
          </ac:spMkLst>
        </pc:sp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a:extLst>
              <a:ext uri="{FF2B5EF4-FFF2-40B4-BE49-F238E27FC236}">
                <a16:creationId xmlns:a16="http://schemas.microsoft.com/office/drawing/2014/main" id="{8F1FE7CC-9925-458F-ADF7-1BC063512A95}"/>
              </a:ext>
            </a:extLst>
          </p:cNvPr>
          <p:cNvSpPr>
            <a:spLocks noGrp="1"/>
          </p:cNvSpPr>
          <p:nvPr>
            <p:ph type="hdr" sz="quarter"/>
          </p:nvPr>
        </p:nvSpPr>
        <p:spPr>
          <a:xfrm>
            <a:off x="0" y="0"/>
            <a:ext cx="2945659" cy="495348"/>
          </a:xfrm>
          <a:prstGeom prst="rect">
            <a:avLst/>
          </a:prstGeom>
        </p:spPr>
        <p:txBody>
          <a:bodyPr vert="horz" lIns="91440" tIns="45720" rIns="91440" bIns="45720" rtlCol="0"/>
          <a:lstStyle>
            <a:lvl1pPr algn="l">
              <a:defRPr sz="1200"/>
            </a:lvl1pPr>
          </a:lstStyle>
          <a:p>
            <a:endParaRPr lang="de-DE" dirty="0"/>
          </a:p>
        </p:txBody>
      </p:sp>
      <p:sp>
        <p:nvSpPr>
          <p:cNvPr id="3" name="Datumsplatzhalter 2">
            <a:extLst>
              <a:ext uri="{FF2B5EF4-FFF2-40B4-BE49-F238E27FC236}">
                <a16:creationId xmlns:a16="http://schemas.microsoft.com/office/drawing/2014/main" id="{66549EB6-EBAF-42AF-8241-62B36DA99CCC}"/>
              </a:ext>
            </a:extLst>
          </p:cNvPr>
          <p:cNvSpPr>
            <a:spLocks noGrp="1"/>
          </p:cNvSpPr>
          <p:nvPr>
            <p:ph type="dt" sz="quarter" idx="1"/>
          </p:nvPr>
        </p:nvSpPr>
        <p:spPr>
          <a:xfrm>
            <a:off x="3850443" y="0"/>
            <a:ext cx="2945659" cy="495348"/>
          </a:xfrm>
          <a:prstGeom prst="rect">
            <a:avLst/>
          </a:prstGeom>
        </p:spPr>
        <p:txBody>
          <a:bodyPr vert="horz" lIns="91440" tIns="45720" rIns="91440" bIns="45720" rtlCol="0"/>
          <a:lstStyle>
            <a:lvl1pPr algn="r">
              <a:defRPr sz="1200"/>
            </a:lvl1pPr>
          </a:lstStyle>
          <a:p>
            <a:fld id="{EE762509-F70A-4017-80E6-5E62024D42F5}" type="datetimeFigureOut">
              <a:rPr lang="de-DE" smtClean="0"/>
              <a:t>12.05.2021</a:t>
            </a:fld>
            <a:endParaRPr lang="de-DE" dirty="0"/>
          </a:p>
        </p:txBody>
      </p:sp>
      <p:sp>
        <p:nvSpPr>
          <p:cNvPr id="4" name="Fußzeilenplatzhalter 3">
            <a:extLst>
              <a:ext uri="{FF2B5EF4-FFF2-40B4-BE49-F238E27FC236}">
                <a16:creationId xmlns:a16="http://schemas.microsoft.com/office/drawing/2014/main" id="{BC08E189-D542-41E9-87AE-86D560673282}"/>
              </a:ext>
            </a:extLst>
          </p:cNvPr>
          <p:cNvSpPr>
            <a:spLocks noGrp="1"/>
          </p:cNvSpPr>
          <p:nvPr>
            <p:ph type="ftr" sz="quarter" idx="2"/>
          </p:nvPr>
        </p:nvSpPr>
        <p:spPr>
          <a:xfrm>
            <a:off x="0" y="9377317"/>
            <a:ext cx="2945659" cy="495347"/>
          </a:xfrm>
          <a:prstGeom prst="rect">
            <a:avLst/>
          </a:prstGeom>
        </p:spPr>
        <p:txBody>
          <a:bodyPr vert="horz" lIns="91440" tIns="45720" rIns="91440" bIns="45720" rtlCol="0" anchor="b"/>
          <a:lstStyle>
            <a:lvl1pPr algn="l">
              <a:defRPr sz="1200"/>
            </a:lvl1pPr>
          </a:lstStyle>
          <a:p>
            <a:endParaRPr lang="de-DE" dirty="0"/>
          </a:p>
        </p:txBody>
      </p:sp>
      <p:sp>
        <p:nvSpPr>
          <p:cNvPr id="5" name="Foliennummernplatzhalter 4">
            <a:extLst>
              <a:ext uri="{FF2B5EF4-FFF2-40B4-BE49-F238E27FC236}">
                <a16:creationId xmlns:a16="http://schemas.microsoft.com/office/drawing/2014/main" id="{30A7907E-5D17-476B-8223-34F99F04FC73}"/>
              </a:ext>
            </a:extLst>
          </p:cNvPr>
          <p:cNvSpPr>
            <a:spLocks noGrp="1"/>
          </p:cNvSpPr>
          <p:nvPr>
            <p:ph type="sldNum" sz="quarter" idx="3"/>
          </p:nvPr>
        </p:nvSpPr>
        <p:spPr>
          <a:xfrm>
            <a:off x="3850443" y="9377317"/>
            <a:ext cx="2945659" cy="495347"/>
          </a:xfrm>
          <a:prstGeom prst="rect">
            <a:avLst/>
          </a:prstGeom>
        </p:spPr>
        <p:txBody>
          <a:bodyPr vert="horz" lIns="91440" tIns="45720" rIns="91440" bIns="45720" rtlCol="0" anchor="b"/>
          <a:lstStyle>
            <a:lvl1pPr algn="r">
              <a:defRPr sz="1200"/>
            </a:lvl1pPr>
          </a:lstStyle>
          <a:p>
            <a:fld id="{E22A1B5C-3420-4B21-9EDD-569EABB78B29}" type="slidenum">
              <a:rPr lang="de-DE" smtClean="0"/>
              <a:t>‹Nr.›</a:t>
            </a:fld>
            <a:endParaRPr lang="de-DE" dirty="0"/>
          </a:p>
        </p:txBody>
      </p:sp>
    </p:spTree>
    <p:extLst>
      <p:ext uri="{BB962C8B-B14F-4D97-AF65-F5344CB8AC3E}">
        <p14:creationId xmlns:p14="http://schemas.microsoft.com/office/powerpoint/2010/main" val="261382674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46400" cy="495300"/>
          </a:xfrm>
          <a:prstGeom prst="rect">
            <a:avLst/>
          </a:prstGeom>
        </p:spPr>
        <p:txBody>
          <a:bodyPr vert="horz" lIns="91440" tIns="45720" rIns="91440" bIns="45720" rtlCol="0"/>
          <a:lstStyle>
            <a:lvl1pPr algn="l">
              <a:defRPr sz="1200"/>
            </a:lvl1pPr>
          </a:lstStyle>
          <a:p>
            <a:endParaRPr lang="de-DE" dirty="0"/>
          </a:p>
        </p:txBody>
      </p:sp>
      <p:sp>
        <p:nvSpPr>
          <p:cNvPr id="3" name="Datumsplatzhalter 2"/>
          <p:cNvSpPr>
            <a:spLocks noGrp="1"/>
          </p:cNvSpPr>
          <p:nvPr>
            <p:ph type="dt" idx="1"/>
          </p:nvPr>
        </p:nvSpPr>
        <p:spPr>
          <a:xfrm>
            <a:off x="3849688" y="0"/>
            <a:ext cx="2946400" cy="495300"/>
          </a:xfrm>
          <a:prstGeom prst="rect">
            <a:avLst/>
          </a:prstGeom>
        </p:spPr>
        <p:txBody>
          <a:bodyPr vert="horz" lIns="91440" tIns="45720" rIns="91440" bIns="45720" rtlCol="0"/>
          <a:lstStyle>
            <a:lvl1pPr algn="r">
              <a:defRPr sz="1200"/>
            </a:lvl1pPr>
          </a:lstStyle>
          <a:p>
            <a:fld id="{C801376E-63E8-474F-B113-35033FA710B8}" type="datetimeFigureOut">
              <a:rPr lang="de-DE" smtClean="0"/>
              <a:t>12.05.2021</a:t>
            </a:fld>
            <a:endParaRPr lang="de-DE" dirty="0"/>
          </a:p>
        </p:txBody>
      </p:sp>
      <p:sp>
        <p:nvSpPr>
          <p:cNvPr id="4" name="Folienbildplatzhalter 3"/>
          <p:cNvSpPr>
            <a:spLocks noGrp="1" noRot="1" noChangeAspect="1"/>
          </p:cNvSpPr>
          <p:nvPr>
            <p:ph type="sldImg" idx="2"/>
          </p:nvPr>
        </p:nvSpPr>
        <p:spPr>
          <a:xfrm>
            <a:off x="438150" y="1233488"/>
            <a:ext cx="5921375" cy="3332162"/>
          </a:xfrm>
          <a:prstGeom prst="rect">
            <a:avLst/>
          </a:prstGeom>
          <a:noFill/>
          <a:ln w="12700">
            <a:solidFill>
              <a:prstClr val="black"/>
            </a:solidFill>
          </a:ln>
        </p:spPr>
        <p:txBody>
          <a:bodyPr vert="horz" lIns="91440" tIns="45720" rIns="91440" bIns="45720" rtlCol="0" anchor="ctr"/>
          <a:lstStyle/>
          <a:p>
            <a:endParaRPr lang="de-DE" dirty="0"/>
          </a:p>
        </p:txBody>
      </p:sp>
      <p:sp>
        <p:nvSpPr>
          <p:cNvPr id="5" name="Notizenplatzhalter 4"/>
          <p:cNvSpPr>
            <a:spLocks noGrp="1"/>
          </p:cNvSpPr>
          <p:nvPr>
            <p:ph type="body" sz="quarter" idx="3"/>
          </p:nvPr>
        </p:nvSpPr>
        <p:spPr>
          <a:xfrm>
            <a:off x="679450" y="4751388"/>
            <a:ext cx="5438775" cy="3887787"/>
          </a:xfrm>
          <a:prstGeom prst="rect">
            <a:avLst/>
          </a:prstGeom>
        </p:spPr>
        <p:txBody>
          <a:bodyPr vert="horz" lIns="91440" tIns="45720" rIns="91440" bIns="45720" rtlCol="0"/>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9377363"/>
            <a:ext cx="2946400" cy="495300"/>
          </a:xfrm>
          <a:prstGeom prst="rect">
            <a:avLst/>
          </a:prstGeom>
        </p:spPr>
        <p:txBody>
          <a:bodyPr vert="horz" lIns="91440" tIns="45720" rIns="91440" bIns="45720" rtlCol="0" anchor="b"/>
          <a:lstStyle>
            <a:lvl1pPr algn="l">
              <a:defRPr sz="1200"/>
            </a:lvl1pPr>
          </a:lstStyle>
          <a:p>
            <a:endParaRPr lang="de-DE" dirty="0"/>
          </a:p>
        </p:txBody>
      </p:sp>
      <p:sp>
        <p:nvSpPr>
          <p:cNvPr id="7" name="Foliennummernplatzhalter 6"/>
          <p:cNvSpPr>
            <a:spLocks noGrp="1"/>
          </p:cNvSpPr>
          <p:nvPr>
            <p:ph type="sldNum" sz="quarter" idx="5"/>
          </p:nvPr>
        </p:nvSpPr>
        <p:spPr>
          <a:xfrm>
            <a:off x="3849688" y="9377363"/>
            <a:ext cx="2946400" cy="495300"/>
          </a:xfrm>
          <a:prstGeom prst="rect">
            <a:avLst/>
          </a:prstGeom>
        </p:spPr>
        <p:txBody>
          <a:bodyPr vert="horz" lIns="91440" tIns="45720" rIns="91440" bIns="45720" rtlCol="0" anchor="b"/>
          <a:lstStyle>
            <a:lvl1pPr algn="r">
              <a:defRPr sz="1200"/>
            </a:lvl1pPr>
          </a:lstStyle>
          <a:p>
            <a:fld id="{00984A91-D31B-46D9-AE41-C70357E8A100}" type="slidenum">
              <a:rPr lang="de-DE" smtClean="0"/>
              <a:t>‹Nr.›</a:t>
            </a:fld>
            <a:endParaRPr lang="de-DE" dirty="0"/>
          </a:p>
        </p:txBody>
      </p:sp>
    </p:spTree>
    <p:extLst>
      <p:ext uri="{BB962C8B-B14F-4D97-AF65-F5344CB8AC3E}">
        <p14:creationId xmlns:p14="http://schemas.microsoft.com/office/powerpoint/2010/main" val="89403987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00984A91-D31B-46D9-AE41-C70357E8A100}" type="slidenum">
              <a:rPr lang="de-DE" smtClean="0"/>
              <a:t>11</a:t>
            </a:fld>
            <a:endParaRPr lang="de-DE" dirty="0"/>
          </a:p>
        </p:txBody>
      </p:sp>
    </p:spTree>
    <p:extLst>
      <p:ext uri="{BB962C8B-B14F-4D97-AF65-F5344CB8AC3E}">
        <p14:creationId xmlns:p14="http://schemas.microsoft.com/office/powerpoint/2010/main" val="144931365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00984A91-D31B-46D9-AE41-C70357E8A100}" type="slidenum">
              <a:rPr lang="de-DE" smtClean="0"/>
              <a:t>12</a:t>
            </a:fld>
            <a:endParaRPr lang="de-DE" dirty="0"/>
          </a:p>
        </p:txBody>
      </p:sp>
    </p:spTree>
    <p:extLst>
      <p:ext uri="{BB962C8B-B14F-4D97-AF65-F5344CB8AC3E}">
        <p14:creationId xmlns:p14="http://schemas.microsoft.com/office/powerpoint/2010/main" val="72368682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00984A91-D31B-46D9-AE41-C70357E8A100}" type="slidenum">
              <a:rPr lang="de-DE" smtClean="0"/>
              <a:t>20</a:t>
            </a:fld>
            <a:endParaRPr lang="de-DE" dirty="0"/>
          </a:p>
        </p:txBody>
      </p:sp>
    </p:spTree>
    <p:extLst>
      <p:ext uri="{BB962C8B-B14F-4D97-AF65-F5344CB8AC3E}">
        <p14:creationId xmlns:p14="http://schemas.microsoft.com/office/powerpoint/2010/main" val="370098189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emf"/></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1.emf"/></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elfolie">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BC379861-C28C-4C72-B8EB-F70E012B5A27}"/>
              </a:ext>
            </a:extLst>
          </p:cNvPr>
          <p:cNvGraphicFramePr>
            <a:graphicFrameLocks noChangeAspect="1"/>
          </p:cNvGraphicFramePr>
          <p:nvPr userDrawn="1">
            <p:custDataLst>
              <p:tags r:id="rId1"/>
            </p:custDataLst>
            <p:extLst>
              <p:ext uri="{D42A27DB-BD31-4B8C-83A1-F6EECF244321}">
                <p14:modId xmlns:p14="http://schemas.microsoft.com/office/powerpoint/2010/main" val="40774126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6" progId="TCLayout.ActiveDocument.1">
                  <p:embed/>
                </p:oleObj>
              </mc:Choice>
              <mc:Fallback>
                <p:oleObj name="think-cell Folie" r:id="rId3" imgW="425" imgH="426" progId="TCLayout.ActiveDocument.1">
                  <p:embed/>
                  <p:pic>
                    <p:nvPicPr>
                      <p:cNvPr id="8" name="Objekt 7" hidden="1">
                        <a:extLst>
                          <a:ext uri="{FF2B5EF4-FFF2-40B4-BE49-F238E27FC236}">
                            <a16:creationId xmlns:a16="http://schemas.microsoft.com/office/drawing/2014/main" id="{BC379861-C28C-4C72-B8EB-F70E012B5A2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A145B910-EDC8-4025-BFBE-320F230F1692}"/>
              </a:ext>
            </a:extLst>
          </p:cNvPr>
          <p:cNvSpPr>
            <a:spLocks noGrp="1"/>
          </p:cNvSpPr>
          <p:nvPr>
            <p:ph type="ctrTitle"/>
          </p:nvPr>
        </p:nvSpPr>
        <p:spPr>
          <a:xfrm>
            <a:off x="1524000" y="1122363"/>
            <a:ext cx="9144000" cy="2387600"/>
          </a:xfrm>
          <a:prstGeom prst="rect">
            <a:avLst/>
          </a:prstGeom>
        </p:spPr>
        <p:txBody>
          <a:bodyPr vert="horz" anchor="t"/>
          <a:lstStyle>
            <a:lvl1pPr algn="ctr">
              <a:defRPr sz="6000"/>
            </a:lvl1pPr>
          </a:lstStyle>
          <a:p>
            <a:r>
              <a:rPr lang="de-DE" dirty="0"/>
              <a:t>Mastertitelformat bearbeiten</a:t>
            </a:r>
          </a:p>
        </p:txBody>
      </p:sp>
    </p:spTree>
    <p:extLst>
      <p:ext uri="{BB962C8B-B14F-4D97-AF65-F5344CB8AC3E}">
        <p14:creationId xmlns:p14="http://schemas.microsoft.com/office/powerpoint/2010/main" val="243532711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2986ACDB-438D-45E4-89AC-6BD948A84803}"/>
              </a:ext>
            </a:extLst>
          </p:cNvPr>
          <p:cNvGraphicFramePr>
            <a:graphicFrameLocks noChangeAspect="1"/>
          </p:cNvGraphicFramePr>
          <p:nvPr userDrawn="1">
            <p:custDataLst>
              <p:tags r:id="rId1"/>
            </p:custDataLst>
            <p:extLst>
              <p:ext uri="{D42A27DB-BD31-4B8C-83A1-F6EECF244321}">
                <p14:modId xmlns:p14="http://schemas.microsoft.com/office/powerpoint/2010/main" val="6103417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6" progId="TCLayout.ActiveDocument.1">
                  <p:embed/>
                </p:oleObj>
              </mc:Choice>
              <mc:Fallback>
                <p:oleObj name="think-cell Folie" r:id="rId3" imgW="425" imgH="426" progId="TCLayout.ActiveDocument.1">
                  <p:embed/>
                  <p:pic>
                    <p:nvPicPr>
                      <p:cNvPr id="8" name="Objekt 7" hidden="1">
                        <a:extLst>
                          <a:ext uri="{FF2B5EF4-FFF2-40B4-BE49-F238E27FC236}">
                            <a16:creationId xmlns:a16="http://schemas.microsoft.com/office/drawing/2014/main" id="{2986ACDB-438D-45E4-89AC-6BD948A8480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E1876961-06E1-48A8-BFDA-EE5E452F13FF}"/>
              </a:ext>
            </a:extLst>
          </p:cNvPr>
          <p:cNvSpPr>
            <a:spLocks noGrp="1"/>
          </p:cNvSpPr>
          <p:nvPr>
            <p:ph type="title"/>
          </p:nvPr>
        </p:nvSpPr>
        <p:spPr>
          <a:xfrm>
            <a:off x="334963" y="333374"/>
            <a:ext cx="11520000" cy="540000"/>
          </a:xfrm>
          <a:prstGeom prst="rect">
            <a:avLst/>
          </a:prstGeom>
        </p:spPr>
        <p:txBody>
          <a:bodyPr vert="horz"/>
          <a:lstStyle/>
          <a:p>
            <a:r>
              <a:rPr lang="de-DE" dirty="0"/>
              <a:t>Mastertitelformat bearbeiten</a:t>
            </a:r>
          </a:p>
        </p:txBody>
      </p:sp>
      <p:sp>
        <p:nvSpPr>
          <p:cNvPr id="3" name="Inhaltsplatzhalter 2">
            <a:extLst>
              <a:ext uri="{FF2B5EF4-FFF2-40B4-BE49-F238E27FC236}">
                <a16:creationId xmlns:a16="http://schemas.microsoft.com/office/drawing/2014/main" id="{96CAC32F-D708-481D-949A-6C48CB19CEF4}"/>
              </a:ext>
            </a:extLst>
          </p:cNvPr>
          <p:cNvSpPr>
            <a:spLocks noGrp="1"/>
          </p:cNvSpPr>
          <p:nvPr>
            <p:ph idx="1"/>
          </p:nvPr>
        </p:nvSpPr>
        <p:spPr>
          <a:xfrm>
            <a:off x="334963" y="1125538"/>
            <a:ext cx="11520000" cy="5399538"/>
          </a:xfrm>
          <a:prstGeom prst="rect">
            <a:avLst/>
          </a:prstGeom>
        </p:spPr>
        <p:txBody>
          <a:body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Tree>
    <p:extLst>
      <p:ext uri="{BB962C8B-B14F-4D97-AF65-F5344CB8AC3E}">
        <p14:creationId xmlns:p14="http://schemas.microsoft.com/office/powerpoint/2010/main" val="50036886"/>
      </p:ext>
    </p:extLst>
  </p:cSld>
  <p:clrMapOvr>
    <a:masterClrMapping/>
  </p:clrMapOvr>
  <p:extLst>
    <p:ext uri="{DCECCB84-F9BA-43D5-87BE-67443E8EF086}">
      <p15:sldGuideLst xmlns:p15="http://schemas.microsoft.com/office/powerpoint/2012/main">
        <p15:guide id="2" pos="211" userDrawn="1">
          <p15:clr>
            <a:srgbClr val="FBAE40"/>
          </p15:clr>
        </p15:guide>
        <p15:guide id="3" pos="7469" userDrawn="1">
          <p15:clr>
            <a:srgbClr val="FBAE40"/>
          </p15:clr>
        </p15:guide>
        <p15:guide id="4" orient="horz" pos="210" userDrawn="1">
          <p15:clr>
            <a:srgbClr val="FBAE40"/>
          </p15:clr>
        </p15:guide>
        <p15:guide id="5" orient="horz" pos="4110" userDrawn="1">
          <p15:clr>
            <a:srgbClr val="FBAE40"/>
          </p15:clr>
        </p15:guide>
        <p15:guide id="6" orient="horz" pos="618" userDrawn="1">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el und Inhalt">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2986ACDB-438D-45E4-89AC-6BD948A84803}"/>
              </a:ext>
            </a:extLst>
          </p:cNvPr>
          <p:cNvGraphicFramePr>
            <a:graphicFrameLocks noChangeAspect="1"/>
          </p:cNvGraphicFramePr>
          <p:nvPr userDrawn="1">
            <p:custDataLst>
              <p:tags r:id="rId1"/>
            </p:custDataLst>
            <p:extLst>
              <p:ext uri="{D42A27DB-BD31-4B8C-83A1-F6EECF244321}">
                <p14:modId xmlns:p14="http://schemas.microsoft.com/office/powerpoint/2010/main" val="25343967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6" progId="TCLayout.ActiveDocument.1">
                  <p:embed/>
                </p:oleObj>
              </mc:Choice>
              <mc:Fallback>
                <p:oleObj name="think-cell Folie" r:id="rId3" imgW="425" imgH="426" progId="TCLayout.ActiveDocument.1">
                  <p:embed/>
                  <p:pic>
                    <p:nvPicPr>
                      <p:cNvPr id="8" name="Objekt 7" hidden="1">
                        <a:extLst>
                          <a:ext uri="{FF2B5EF4-FFF2-40B4-BE49-F238E27FC236}">
                            <a16:creationId xmlns:a16="http://schemas.microsoft.com/office/drawing/2014/main" id="{2986ACDB-438D-45E4-89AC-6BD948A8480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Inhaltsplatzhalter 2">
            <a:extLst>
              <a:ext uri="{FF2B5EF4-FFF2-40B4-BE49-F238E27FC236}">
                <a16:creationId xmlns:a16="http://schemas.microsoft.com/office/drawing/2014/main" id="{96CAC32F-D708-481D-949A-6C48CB19CEF4}"/>
              </a:ext>
            </a:extLst>
          </p:cNvPr>
          <p:cNvSpPr>
            <a:spLocks noGrp="1"/>
          </p:cNvSpPr>
          <p:nvPr>
            <p:ph idx="1"/>
          </p:nvPr>
        </p:nvSpPr>
        <p:spPr>
          <a:xfrm>
            <a:off x="334963" y="1125538"/>
            <a:ext cx="11520000" cy="5399538"/>
          </a:xfrm>
          <a:prstGeom prst="rect">
            <a:avLst/>
          </a:prstGeom>
        </p:spPr>
        <p:txBody>
          <a:body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Tree>
    <p:extLst>
      <p:ext uri="{BB962C8B-B14F-4D97-AF65-F5344CB8AC3E}">
        <p14:creationId xmlns:p14="http://schemas.microsoft.com/office/powerpoint/2010/main" val="4173434269"/>
      </p:ext>
    </p:extLst>
  </p:cSld>
  <p:clrMapOvr>
    <a:masterClrMapping/>
  </p:clrMapOvr>
  <p:extLst>
    <p:ext uri="{DCECCB84-F9BA-43D5-87BE-67443E8EF086}">
      <p15:sldGuideLst xmlns:p15="http://schemas.microsoft.com/office/powerpoint/2012/main">
        <p15:guide id="2" pos="211">
          <p15:clr>
            <a:srgbClr val="FBAE40"/>
          </p15:clr>
        </p15:guide>
        <p15:guide id="3" pos="7469">
          <p15:clr>
            <a:srgbClr val="FBAE40"/>
          </p15:clr>
        </p15:guide>
        <p15:guide id="4" orient="horz" pos="210">
          <p15:clr>
            <a:srgbClr val="FBAE40"/>
          </p15:clr>
        </p15:guide>
        <p15:guide id="5" orient="horz" pos="4110">
          <p15:clr>
            <a:srgbClr val="FBAE40"/>
          </p15:clr>
        </p15:guide>
      </p15:sldGuideLst>
    </p:ext>
  </p:extLst>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oleObject" Target="../embeddings/oleObject1.bin"/><Relationship Id="rId5" Type="http://schemas.openxmlformats.org/officeDocument/2006/relationships/tags" Target="../tags/tag2.xml"/><Relationship Id="rId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89C170C1-3A67-43AD-A913-8D4F4AE9AE1D}"/>
              </a:ext>
            </a:extLst>
          </p:cNvPr>
          <p:cNvGraphicFramePr>
            <a:graphicFrameLocks noChangeAspect="1"/>
          </p:cNvGraphicFramePr>
          <p:nvPr userDrawn="1">
            <p:custDataLst>
              <p:tags r:id="rId5"/>
            </p:custDataLst>
            <p:extLst>
              <p:ext uri="{D42A27DB-BD31-4B8C-83A1-F6EECF244321}">
                <p14:modId xmlns:p14="http://schemas.microsoft.com/office/powerpoint/2010/main" val="32265669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6" imgW="425" imgH="426" progId="TCLayout.ActiveDocument.1">
                  <p:embed/>
                </p:oleObj>
              </mc:Choice>
              <mc:Fallback>
                <p:oleObj name="think-cell Folie" r:id="rId6" imgW="425" imgH="426" progId="TCLayout.ActiveDocument.1">
                  <p:embed/>
                  <p:pic>
                    <p:nvPicPr>
                      <p:cNvPr id="8" name="Objekt 7" hidden="1">
                        <a:extLst>
                          <a:ext uri="{FF2B5EF4-FFF2-40B4-BE49-F238E27FC236}">
                            <a16:creationId xmlns:a16="http://schemas.microsoft.com/office/drawing/2014/main" id="{89C170C1-3A67-43AD-A913-8D4F4AE9AE1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Titelplatzhalter 1">
            <a:extLst>
              <a:ext uri="{FF2B5EF4-FFF2-40B4-BE49-F238E27FC236}">
                <a16:creationId xmlns:a16="http://schemas.microsoft.com/office/drawing/2014/main" id="{DAB6952E-20AB-4658-930A-D38743655C13}"/>
              </a:ext>
            </a:extLst>
          </p:cNvPr>
          <p:cNvSpPr>
            <a:spLocks noGrp="1"/>
          </p:cNvSpPr>
          <p:nvPr>
            <p:ph type="title"/>
          </p:nvPr>
        </p:nvSpPr>
        <p:spPr>
          <a:xfrm>
            <a:off x="334962" y="333375"/>
            <a:ext cx="11520000" cy="540000"/>
          </a:xfrm>
          <a:prstGeom prst="rect">
            <a:avLst/>
          </a:prstGeom>
        </p:spPr>
        <p:txBody>
          <a:bodyPr vert="horz" lIns="0" tIns="45720" rIns="0" bIns="45720" rtlCol="0" anchor="t">
            <a:noAutofit/>
          </a:bodyPr>
          <a:lstStyle/>
          <a:p>
            <a:r>
              <a:rPr lang="de-DE" dirty="0"/>
              <a:t>Mastertitelformat bearbeiten</a:t>
            </a:r>
          </a:p>
        </p:txBody>
      </p:sp>
      <p:sp>
        <p:nvSpPr>
          <p:cNvPr id="3" name="Textplatzhalter 2">
            <a:extLst>
              <a:ext uri="{FF2B5EF4-FFF2-40B4-BE49-F238E27FC236}">
                <a16:creationId xmlns:a16="http://schemas.microsoft.com/office/drawing/2014/main" id="{1973DDBE-A92E-439E-86BC-3EBA4652597D}"/>
              </a:ext>
            </a:extLst>
          </p:cNvPr>
          <p:cNvSpPr>
            <a:spLocks noGrp="1"/>
          </p:cNvSpPr>
          <p:nvPr>
            <p:ph type="body" idx="1"/>
          </p:nvPr>
        </p:nvSpPr>
        <p:spPr>
          <a:xfrm>
            <a:off x="337038" y="1125537"/>
            <a:ext cx="11520000" cy="5399087"/>
          </a:xfrm>
          <a:prstGeom prst="rect">
            <a:avLst/>
          </a:prstGeom>
        </p:spPr>
        <p:txBody>
          <a:bodyPr vert="horz" lIns="91440" tIns="45720" rIns="91440" bIns="45720" rtlCol="0">
            <a:normAutofit/>
          </a:body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23" name="Textfeld 22">
            <a:extLst>
              <a:ext uri="{FF2B5EF4-FFF2-40B4-BE49-F238E27FC236}">
                <a16:creationId xmlns:a16="http://schemas.microsoft.com/office/drawing/2014/main" id="{22D79698-1342-4767-8943-EC0BBE00DCE0}"/>
              </a:ext>
            </a:extLst>
          </p:cNvPr>
          <p:cNvSpPr txBox="1"/>
          <p:nvPr userDrawn="1"/>
        </p:nvSpPr>
        <p:spPr>
          <a:xfrm>
            <a:off x="8746891" y="6544666"/>
            <a:ext cx="3110147" cy="276999"/>
          </a:xfrm>
          <a:prstGeom prst="rect">
            <a:avLst/>
          </a:prstGeom>
          <a:noFill/>
        </p:spPr>
        <p:txBody>
          <a:bodyPr wrap="none" rtlCol="0" anchor="ctr">
            <a:spAutoFit/>
          </a:bodyPr>
          <a:lstStyle/>
          <a:p>
            <a:pPr algn="r"/>
            <a:r>
              <a:rPr lang="de-DE" sz="1200" dirty="0">
                <a:solidFill>
                  <a:schemeClr val="accent2"/>
                </a:solidFill>
                <a:latin typeface="Colus" panose="00000500000000000000" pitchFamily="2" charset="0"/>
              </a:rPr>
              <a:t>www.Consulting-University.com</a:t>
            </a:r>
          </a:p>
        </p:txBody>
      </p:sp>
    </p:spTree>
    <p:extLst>
      <p:ext uri="{BB962C8B-B14F-4D97-AF65-F5344CB8AC3E}">
        <p14:creationId xmlns:p14="http://schemas.microsoft.com/office/powerpoint/2010/main" val="1747802691"/>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Lst>
  <p:txStyles>
    <p:titleStyle>
      <a:lvl1pPr algn="l" defTabSz="914400" rtl="0" eaLnBrk="1" latinLnBrk="0" hangingPunct="1">
        <a:lnSpc>
          <a:spcPct val="90000"/>
        </a:lnSpc>
        <a:spcBef>
          <a:spcPct val="0"/>
        </a:spcBef>
        <a:buNone/>
        <a:defRPr sz="20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0" userDrawn="1">
          <p15:clr>
            <a:srgbClr val="F26B43"/>
          </p15:clr>
        </p15:guide>
        <p15:guide id="2" pos="211" userDrawn="1">
          <p15:clr>
            <a:srgbClr val="F26B43"/>
          </p15:clr>
        </p15:guide>
        <p15:guide id="3" orient="horz" pos="550" userDrawn="1">
          <p15:clr>
            <a:srgbClr val="F26B43"/>
          </p15:clr>
        </p15:guide>
        <p15:guide id="4" orient="horz" pos="709" userDrawn="1">
          <p15:clr>
            <a:srgbClr val="F26B43"/>
          </p15:clr>
        </p15:guide>
        <p15:guide id="5" orient="horz" pos="4110" userDrawn="1">
          <p15:clr>
            <a:srgbClr val="F26B43"/>
          </p15:clr>
        </p15:guide>
        <p15:guide id="6" pos="7469"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Layout" Target="../slideLayouts/slideLayout2.xml"/><Relationship Id="rId1" Type="http://schemas.openxmlformats.org/officeDocument/2006/relationships/tags" Target="../tags/tag18.xml"/><Relationship Id="rId4" Type="http://schemas.openxmlformats.org/officeDocument/2006/relationships/image" Target="../media/image1.emf"/></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2.xml"/><Relationship Id="rId1" Type="http://schemas.openxmlformats.org/officeDocument/2006/relationships/tags" Target="../tags/tag19.xml"/><Relationship Id="rId5" Type="http://schemas.openxmlformats.org/officeDocument/2006/relationships/image" Target="../media/image1.emf"/><Relationship Id="rId4" Type="http://schemas.openxmlformats.org/officeDocument/2006/relationships/oleObject" Target="../embeddings/oleObject11.bin"/></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2.xml"/><Relationship Id="rId1" Type="http://schemas.openxmlformats.org/officeDocument/2006/relationships/tags" Target="../tags/tag20.xml"/><Relationship Id="rId5" Type="http://schemas.openxmlformats.org/officeDocument/2006/relationships/image" Target="../media/image1.emf"/><Relationship Id="rId4" Type="http://schemas.openxmlformats.org/officeDocument/2006/relationships/oleObject" Target="../embeddings/oleObject12.bin"/></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2.xml"/><Relationship Id="rId1" Type="http://schemas.openxmlformats.org/officeDocument/2006/relationships/tags" Target="../tags/tag21.xml"/><Relationship Id="rId5" Type="http://schemas.openxmlformats.org/officeDocument/2006/relationships/image" Target="../media/image1.emf"/><Relationship Id="rId4" Type="http://schemas.openxmlformats.org/officeDocument/2006/relationships/oleObject" Target="../embeddings/oleObject13.bin"/></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4.xml"/><Relationship Id="rId1" Type="http://schemas.openxmlformats.org/officeDocument/2006/relationships/tags" Target="../tags/tag23.xml"/><Relationship Id="rId5" Type="http://schemas.openxmlformats.org/officeDocument/2006/relationships/image" Target="../media/image1.emf"/><Relationship Id="rId4" Type="http://schemas.openxmlformats.org/officeDocument/2006/relationships/oleObject" Target="../embeddings/oleObject13.bin"/></Relationships>
</file>

<file path=ppt/slides/_rels/slide15.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Layout" Target="../slideLayouts/slideLayout2.xml"/><Relationship Id="rId1" Type="http://schemas.openxmlformats.org/officeDocument/2006/relationships/tags" Target="../tags/tag25.xml"/><Relationship Id="rId4" Type="http://schemas.openxmlformats.org/officeDocument/2006/relationships/image" Target="../media/image1.emf"/></Relationships>
</file>

<file path=ppt/slides/_rels/slide16.xml.rels><?xml version="1.0" encoding="UTF-8" standalone="yes"?>
<Relationships xmlns="http://schemas.openxmlformats.org/package/2006/relationships"><Relationship Id="rId26" Type="http://schemas.openxmlformats.org/officeDocument/2006/relationships/tags" Target="../tags/tag51.xml"/><Relationship Id="rId21" Type="http://schemas.openxmlformats.org/officeDocument/2006/relationships/tags" Target="../tags/tag46.xml"/><Relationship Id="rId42" Type="http://schemas.openxmlformats.org/officeDocument/2006/relationships/tags" Target="../tags/tag67.xml"/><Relationship Id="rId47" Type="http://schemas.openxmlformats.org/officeDocument/2006/relationships/tags" Target="../tags/tag72.xml"/><Relationship Id="rId63" Type="http://schemas.openxmlformats.org/officeDocument/2006/relationships/tags" Target="../tags/tag88.xml"/><Relationship Id="rId68" Type="http://schemas.openxmlformats.org/officeDocument/2006/relationships/tags" Target="../tags/tag93.xml"/><Relationship Id="rId84" Type="http://schemas.openxmlformats.org/officeDocument/2006/relationships/tags" Target="../tags/tag109.xml"/><Relationship Id="rId89" Type="http://schemas.openxmlformats.org/officeDocument/2006/relationships/tags" Target="../tags/tag114.xml"/><Relationship Id="rId16" Type="http://schemas.openxmlformats.org/officeDocument/2006/relationships/tags" Target="../tags/tag41.xml"/><Relationship Id="rId11" Type="http://schemas.openxmlformats.org/officeDocument/2006/relationships/tags" Target="../tags/tag36.xml"/><Relationship Id="rId32" Type="http://schemas.openxmlformats.org/officeDocument/2006/relationships/tags" Target="../tags/tag57.xml"/><Relationship Id="rId37" Type="http://schemas.openxmlformats.org/officeDocument/2006/relationships/tags" Target="../tags/tag62.xml"/><Relationship Id="rId53" Type="http://schemas.openxmlformats.org/officeDocument/2006/relationships/tags" Target="../tags/tag78.xml"/><Relationship Id="rId58" Type="http://schemas.openxmlformats.org/officeDocument/2006/relationships/tags" Target="../tags/tag83.xml"/><Relationship Id="rId74" Type="http://schemas.openxmlformats.org/officeDocument/2006/relationships/tags" Target="../tags/tag99.xml"/><Relationship Id="rId79" Type="http://schemas.openxmlformats.org/officeDocument/2006/relationships/tags" Target="../tags/tag104.xml"/><Relationship Id="rId5" Type="http://schemas.openxmlformats.org/officeDocument/2006/relationships/tags" Target="../tags/tag30.xml"/><Relationship Id="rId90" Type="http://schemas.openxmlformats.org/officeDocument/2006/relationships/tags" Target="../tags/tag115.xml"/><Relationship Id="rId95" Type="http://schemas.openxmlformats.org/officeDocument/2006/relationships/tags" Target="../tags/tag120.xml"/><Relationship Id="rId22" Type="http://schemas.openxmlformats.org/officeDocument/2006/relationships/tags" Target="../tags/tag47.xml"/><Relationship Id="rId27" Type="http://schemas.openxmlformats.org/officeDocument/2006/relationships/tags" Target="../tags/tag52.xml"/><Relationship Id="rId43" Type="http://schemas.openxmlformats.org/officeDocument/2006/relationships/tags" Target="../tags/tag68.xml"/><Relationship Id="rId48" Type="http://schemas.openxmlformats.org/officeDocument/2006/relationships/tags" Target="../tags/tag73.xml"/><Relationship Id="rId64" Type="http://schemas.openxmlformats.org/officeDocument/2006/relationships/tags" Target="../tags/tag89.xml"/><Relationship Id="rId69" Type="http://schemas.openxmlformats.org/officeDocument/2006/relationships/tags" Target="../tags/tag94.xml"/><Relationship Id="rId80" Type="http://schemas.openxmlformats.org/officeDocument/2006/relationships/tags" Target="../tags/tag105.xml"/><Relationship Id="rId85" Type="http://schemas.openxmlformats.org/officeDocument/2006/relationships/tags" Target="../tags/tag110.xml"/><Relationship Id="rId3" Type="http://schemas.openxmlformats.org/officeDocument/2006/relationships/tags" Target="../tags/tag28.xml"/><Relationship Id="rId12" Type="http://schemas.openxmlformats.org/officeDocument/2006/relationships/tags" Target="../tags/tag37.xml"/><Relationship Id="rId17" Type="http://schemas.openxmlformats.org/officeDocument/2006/relationships/tags" Target="../tags/tag42.xml"/><Relationship Id="rId25" Type="http://schemas.openxmlformats.org/officeDocument/2006/relationships/tags" Target="../tags/tag50.xml"/><Relationship Id="rId33" Type="http://schemas.openxmlformats.org/officeDocument/2006/relationships/tags" Target="../tags/tag58.xml"/><Relationship Id="rId38" Type="http://schemas.openxmlformats.org/officeDocument/2006/relationships/tags" Target="../tags/tag63.xml"/><Relationship Id="rId46" Type="http://schemas.openxmlformats.org/officeDocument/2006/relationships/tags" Target="../tags/tag71.xml"/><Relationship Id="rId59" Type="http://schemas.openxmlformats.org/officeDocument/2006/relationships/tags" Target="../tags/tag84.xml"/><Relationship Id="rId67" Type="http://schemas.openxmlformats.org/officeDocument/2006/relationships/tags" Target="../tags/tag92.xml"/><Relationship Id="rId20" Type="http://schemas.openxmlformats.org/officeDocument/2006/relationships/tags" Target="../tags/tag45.xml"/><Relationship Id="rId41" Type="http://schemas.openxmlformats.org/officeDocument/2006/relationships/tags" Target="../tags/tag66.xml"/><Relationship Id="rId54" Type="http://schemas.openxmlformats.org/officeDocument/2006/relationships/tags" Target="../tags/tag79.xml"/><Relationship Id="rId62" Type="http://schemas.openxmlformats.org/officeDocument/2006/relationships/tags" Target="../tags/tag87.xml"/><Relationship Id="rId70" Type="http://schemas.openxmlformats.org/officeDocument/2006/relationships/tags" Target="../tags/tag95.xml"/><Relationship Id="rId75" Type="http://schemas.openxmlformats.org/officeDocument/2006/relationships/tags" Target="../tags/tag100.xml"/><Relationship Id="rId83" Type="http://schemas.openxmlformats.org/officeDocument/2006/relationships/tags" Target="../tags/tag108.xml"/><Relationship Id="rId88" Type="http://schemas.openxmlformats.org/officeDocument/2006/relationships/tags" Target="../tags/tag113.xml"/><Relationship Id="rId91" Type="http://schemas.openxmlformats.org/officeDocument/2006/relationships/tags" Target="../tags/tag116.xml"/><Relationship Id="rId96" Type="http://schemas.openxmlformats.org/officeDocument/2006/relationships/tags" Target="../tags/tag121.xml"/><Relationship Id="rId1" Type="http://schemas.openxmlformats.org/officeDocument/2006/relationships/tags" Target="../tags/tag26.xml"/><Relationship Id="rId6" Type="http://schemas.openxmlformats.org/officeDocument/2006/relationships/tags" Target="../tags/tag31.xml"/><Relationship Id="rId15" Type="http://schemas.openxmlformats.org/officeDocument/2006/relationships/tags" Target="../tags/tag40.xml"/><Relationship Id="rId23" Type="http://schemas.openxmlformats.org/officeDocument/2006/relationships/tags" Target="../tags/tag48.xml"/><Relationship Id="rId28" Type="http://schemas.openxmlformats.org/officeDocument/2006/relationships/tags" Target="../tags/tag53.xml"/><Relationship Id="rId36" Type="http://schemas.openxmlformats.org/officeDocument/2006/relationships/tags" Target="../tags/tag61.xml"/><Relationship Id="rId49" Type="http://schemas.openxmlformats.org/officeDocument/2006/relationships/tags" Target="../tags/tag74.xml"/><Relationship Id="rId57" Type="http://schemas.openxmlformats.org/officeDocument/2006/relationships/tags" Target="../tags/tag82.xml"/><Relationship Id="rId10" Type="http://schemas.openxmlformats.org/officeDocument/2006/relationships/tags" Target="../tags/tag35.xml"/><Relationship Id="rId31" Type="http://schemas.openxmlformats.org/officeDocument/2006/relationships/tags" Target="../tags/tag56.xml"/><Relationship Id="rId44" Type="http://schemas.openxmlformats.org/officeDocument/2006/relationships/tags" Target="../tags/tag69.xml"/><Relationship Id="rId52" Type="http://schemas.openxmlformats.org/officeDocument/2006/relationships/tags" Target="../tags/tag77.xml"/><Relationship Id="rId60" Type="http://schemas.openxmlformats.org/officeDocument/2006/relationships/tags" Target="../tags/tag85.xml"/><Relationship Id="rId65" Type="http://schemas.openxmlformats.org/officeDocument/2006/relationships/tags" Target="../tags/tag90.xml"/><Relationship Id="rId73" Type="http://schemas.openxmlformats.org/officeDocument/2006/relationships/tags" Target="../tags/tag98.xml"/><Relationship Id="rId78" Type="http://schemas.openxmlformats.org/officeDocument/2006/relationships/tags" Target="../tags/tag103.xml"/><Relationship Id="rId81" Type="http://schemas.openxmlformats.org/officeDocument/2006/relationships/tags" Target="../tags/tag106.xml"/><Relationship Id="rId86" Type="http://schemas.openxmlformats.org/officeDocument/2006/relationships/tags" Target="../tags/tag111.xml"/><Relationship Id="rId94" Type="http://schemas.openxmlformats.org/officeDocument/2006/relationships/tags" Target="../tags/tag119.xml"/><Relationship Id="rId99" Type="http://schemas.openxmlformats.org/officeDocument/2006/relationships/oleObject" Target="../embeddings/oleObject15.bin"/><Relationship Id="rId4" Type="http://schemas.openxmlformats.org/officeDocument/2006/relationships/tags" Target="../tags/tag29.xml"/><Relationship Id="rId9" Type="http://schemas.openxmlformats.org/officeDocument/2006/relationships/tags" Target="../tags/tag34.xml"/><Relationship Id="rId13" Type="http://schemas.openxmlformats.org/officeDocument/2006/relationships/tags" Target="../tags/tag38.xml"/><Relationship Id="rId18" Type="http://schemas.openxmlformats.org/officeDocument/2006/relationships/tags" Target="../tags/tag43.xml"/><Relationship Id="rId39" Type="http://schemas.openxmlformats.org/officeDocument/2006/relationships/tags" Target="../tags/tag64.xml"/><Relationship Id="rId34" Type="http://schemas.openxmlformats.org/officeDocument/2006/relationships/tags" Target="../tags/tag59.xml"/><Relationship Id="rId50" Type="http://schemas.openxmlformats.org/officeDocument/2006/relationships/tags" Target="../tags/tag75.xml"/><Relationship Id="rId55" Type="http://schemas.openxmlformats.org/officeDocument/2006/relationships/tags" Target="../tags/tag80.xml"/><Relationship Id="rId76" Type="http://schemas.openxmlformats.org/officeDocument/2006/relationships/tags" Target="../tags/tag101.xml"/><Relationship Id="rId97" Type="http://schemas.openxmlformats.org/officeDocument/2006/relationships/tags" Target="../tags/tag122.xml"/><Relationship Id="rId7" Type="http://schemas.openxmlformats.org/officeDocument/2006/relationships/tags" Target="../tags/tag32.xml"/><Relationship Id="rId71" Type="http://schemas.openxmlformats.org/officeDocument/2006/relationships/tags" Target="../tags/tag96.xml"/><Relationship Id="rId92" Type="http://schemas.openxmlformats.org/officeDocument/2006/relationships/tags" Target="../tags/tag117.xml"/><Relationship Id="rId2" Type="http://schemas.openxmlformats.org/officeDocument/2006/relationships/tags" Target="../tags/tag27.xml"/><Relationship Id="rId29" Type="http://schemas.openxmlformats.org/officeDocument/2006/relationships/tags" Target="../tags/tag54.xml"/><Relationship Id="rId24" Type="http://schemas.openxmlformats.org/officeDocument/2006/relationships/tags" Target="../tags/tag49.xml"/><Relationship Id="rId40" Type="http://schemas.openxmlformats.org/officeDocument/2006/relationships/tags" Target="../tags/tag65.xml"/><Relationship Id="rId45" Type="http://schemas.openxmlformats.org/officeDocument/2006/relationships/tags" Target="../tags/tag70.xml"/><Relationship Id="rId66" Type="http://schemas.openxmlformats.org/officeDocument/2006/relationships/tags" Target="../tags/tag91.xml"/><Relationship Id="rId87" Type="http://schemas.openxmlformats.org/officeDocument/2006/relationships/tags" Target="../tags/tag112.xml"/><Relationship Id="rId61" Type="http://schemas.openxmlformats.org/officeDocument/2006/relationships/tags" Target="../tags/tag86.xml"/><Relationship Id="rId82" Type="http://schemas.openxmlformats.org/officeDocument/2006/relationships/tags" Target="../tags/tag107.xml"/><Relationship Id="rId19" Type="http://schemas.openxmlformats.org/officeDocument/2006/relationships/tags" Target="../tags/tag44.xml"/><Relationship Id="rId14" Type="http://schemas.openxmlformats.org/officeDocument/2006/relationships/tags" Target="../tags/tag39.xml"/><Relationship Id="rId30" Type="http://schemas.openxmlformats.org/officeDocument/2006/relationships/tags" Target="../tags/tag55.xml"/><Relationship Id="rId35" Type="http://schemas.openxmlformats.org/officeDocument/2006/relationships/tags" Target="../tags/tag60.xml"/><Relationship Id="rId56" Type="http://schemas.openxmlformats.org/officeDocument/2006/relationships/tags" Target="../tags/tag81.xml"/><Relationship Id="rId77" Type="http://schemas.openxmlformats.org/officeDocument/2006/relationships/tags" Target="../tags/tag102.xml"/><Relationship Id="rId100" Type="http://schemas.openxmlformats.org/officeDocument/2006/relationships/image" Target="../media/image1.emf"/><Relationship Id="rId8" Type="http://schemas.openxmlformats.org/officeDocument/2006/relationships/tags" Target="../tags/tag33.xml"/><Relationship Id="rId51" Type="http://schemas.openxmlformats.org/officeDocument/2006/relationships/tags" Target="../tags/tag76.xml"/><Relationship Id="rId72" Type="http://schemas.openxmlformats.org/officeDocument/2006/relationships/tags" Target="../tags/tag97.xml"/><Relationship Id="rId93" Type="http://schemas.openxmlformats.org/officeDocument/2006/relationships/tags" Target="../tags/tag118.xml"/><Relationship Id="rId98"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24.xml"/><Relationship Id="rId1" Type="http://schemas.openxmlformats.org/officeDocument/2006/relationships/tags" Target="../tags/tag123.xml"/><Relationship Id="rId5" Type="http://schemas.openxmlformats.org/officeDocument/2006/relationships/image" Target="../media/image1.emf"/><Relationship Id="rId4" Type="http://schemas.openxmlformats.org/officeDocument/2006/relationships/oleObject" Target="../embeddings/oleObject16.bin"/></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26.xml"/><Relationship Id="rId1" Type="http://schemas.openxmlformats.org/officeDocument/2006/relationships/tags" Target="../tags/tag125.xml"/><Relationship Id="rId5" Type="http://schemas.openxmlformats.org/officeDocument/2006/relationships/image" Target="../media/image1.emf"/><Relationship Id="rId4" Type="http://schemas.openxmlformats.org/officeDocument/2006/relationships/oleObject" Target="../embeddings/oleObject17.bin"/></Relationships>
</file>

<file path=ppt/slides/_rels/slide19.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Layout" Target="../slideLayouts/slideLayout2.xml"/><Relationship Id="rId1" Type="http://schemas.openxmlformats.org/officeDocument/2006/relationships/tags" Target="../tags/tag127.xml"/><Relationship Id="rId4" Type="http://schemas.openxmlformats.org/officeDocument/2006/relationships/image" Target="../media/image1.emf"/></Relationships>
</file>

<file path=ppt/slides/_rels/slide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hyperlink" Target="https://www.amazon.de/gp/product/B094NQ72QY/ref=as_li_tl?ie=UTF8&amp;tag=consultinguni-21&amp;camp=1638&amp;creative=6742&amp;linkCode=as2&amp;creativeASIN=B094NQ72QY&amp;linkId=a6c262c29ed81736cb601c7e707967df" TargetMode="External"/><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2.xml"/><Relationship Id="rId1" Type="http://schemas.openxmlformats.org/officeDocument/2006/relationships/tags" Target="../tags/tag128.xml"/><Relationship Id="rId5" Type="http://schemas.openxmlformats.org/officeDocument/2006/relationships/image" Target="../media/image1.emf"/><Relationship Id="rId4" Type="http://schemas.openxmlformats.org/officeDocument/2006/relationships/oleObject" Target="../embeddings/oleObject19.bin"/></Relationships>
</file>

<file path=ppt/slides/_rels/slide21.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Layout" Target="../slideLayouts/slideLayout2.xml"/><Relationship Id="rId1" Type="http://schemas.openxmlformats.org/officeDocument/2006/relationships/tags" Target="../tags/tag129.xml"/><Relationship Id="rId4" Type="http://schemas.openxmlformats.org/officeDocument/2006/relationships/image" Target="../media/image1.emf"/></Relationships>
</file>

<file path=ppt/slides/_rels/slide22.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Layout" Target="../slideLayouts/slideLayout2.xml"/><Relationship Id="rId1" Type="http://schemas.openxmlformats.org/officeDocument/2006/relationships/tags" Target="../tags/tag130.xml"/><Relationship Id="rId4" Type="http://schemas.openxmlformats.org/officeDocument/2006/relationships/image" Target="../media/image1.emf"/></Relationships>
</file>

<file path=ppt/slides/_rels/slide23.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Layout" Target="../slideLayouts/slideLayout2.xml"/><Relationship Id="rId1" Type="http://schemas.openxmlformats.org/officeDocument/2006/relationships/tags" Target="../tags/tag131.xml"/><Relationship Id="rId4" Type="http://schemas.openxmlformats.org/officeDocument/2006/relationships/image" Target="../media/image1.emf"/></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6.xml"/><Relationship Id="rId6" Type="http://schemas.openxmlformats.org/officeDocument/2006/relationships/image" Target="../media/image5.png"/><Relationship Id="rId5" Type="http://schemas.openxmlformats.org/officeDocument/2006/relationships/image" Target="../media/image4.png"/><Relationship Id="rId4" Type="http://schemas.openxmlformats.org/officeDocument/2006/relationships/image" Target="../media/image1.emf"/></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7.xml"/><Relationship Id="rId4" Type="http://schemas.openxmlformats.org/officeDocument/2006/relationships/image" Target="../media/image1.emf"/></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9.xml"/><Relationship Id="rId1" Type="http://schemas.openxmlformats.org/officeDocument/2006/relationships/tags" Target="../tags/tag8.xml"/><Relationship Id="rId5" Type="http://schemas.openxmlformats.org/officeDocument/2006/relationships/image" Target="../media/image1.emf"/><Relationship Id="rId4" Type="http://schemas.openxmlformats.org/officeDocument/2006/relationships/oleObject" Target="../embeddings/oleObject6.bin"/></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Layout" Target="../slideLayouts/slideLayout2.xml"/><Relationship Id="rId1" Type="http://schemas.openxmlformats.org/officeDocument/2006/relationships/tags" Target="../tags/tag10.xml"/><Relationship Id="rId4" Type="http://schemas.openxmlformats.org/officeDocument/2006/relationships/image" Target="../media/image1.emf"/></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Layout" Target="../slideLayouts/slideLayout2.xml"/><Relationship Id="rId1" Type="http://schemas.openxmlformats.org/officeDocument/2006/relationships/tags" Target="../tags/tag11.xml"/><Relationship Id="rId4" Type="http://schemas.openxmlformats.org/officeDocument/2006/relationships/image" Target="../media/image1.emf"/></Relationships>
</file>

<file path=ppt/slides/_rels/slide8.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4.xml"/><Relationship Id="rId7" Type="http://schemas.openxmlformats.org/officeDocument/2006/relationships/oleObject" Target="../embeddings/oleObject8.bin"/><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slideLayout" Target="../slideLayouts/slideLayout2.xml"/><Relationship Id="rId5" Type="http://schemas.openxmlformats.org/officeDocument/2006/relationships/tags" Target="../tags/tag16.xml"/><Relationship Id="rId4" Type="http://schemas.openxmlformats.org/officeDocument/2006/relationships/tags" Target="../tags/tag15.xml"/></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Layout" Target="../slideLayouts/slideLayout2.xml"/><Relationship Id="rId1" Type="http://schemas.openxmlformats.org/officeDocument/2006/relationships/tags" Target="../tags/tag17.xml"/><Relationship Id="rId4" Type="http://schemas.openxmlformats.org/officeDocument/2006/relationships/image" Target="../media/image1.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Grafik 3" descr="Ein Bild, das Text, Uhr, dunkel, Messanzeige enthält.&#10;&#10;Automatisch generierte Beschreibung">
            <a:extLst>
              <a:ext uri="{FF2B5EF4-FFF2-40B4-BE49-F238E27FC236}">
                <a16:creationId xmlns:a16="http://schemas.microsoft.com/office/drawing/2014/main" id="{FA136BED-8294-447D-AAFD-E8096C35A7F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945886" y="2935223"/>
            <a:ext cx="6300229" cy="987554"/>
          </a:xfrm>
          <a:prstGeom prst="rect">
            <a:avLst/>
          </a:prstGeom>
        </p:spPr>
      </p:pic>
    </p:spTree>
    <p:extLst>
      <p:ext uri="{BB962C8B-B14F-4D97-AF65-F5344CB8AC3E}">
        <p14:creationId xmlns:p14="http://schemas.microsoft.com/office/powerpoint/2010/main" val="347782445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1" name="Objekt 30" hidden="1">
            <a:extLst>
              <a:ext uri="{FF2B5EF4-FFF2-40B4-BE49-F238E27FC236}">
                <a16:creationId xmlns:a16="http://schemas.microsoft.com/office/drawing/2014/main" id="{3D9B2E00-0D9D-47B7-9ECB-2303B440D185}"/>
              </a:ext>
            </a:extLst>
          </p:cNvPr>
          <p:cNvGraphicFramePr>
            <a:graphicFrameLocks noChangeAspect="1"/>
          </p:cNvGraphicFramePr>
          <p:nvPr>
            <p:custDataLst>
              <p:tags r:id="rId1"/>
            </p:custDataLst>
            <p:extLst>
              <p:ext uri="{D42A27DB-BD31-4B8C-83A1-F6EECF244321}">
                <p14:modId xmlns:p14="http://schemas.microsoft.com/office/powerpoint/2010/main" val="24864916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6" progId="TCLayout.ActiveDocument.1">
                  <p:embed/>
                </p:oleObj>
              </mc:Choice>
              <mc:Fallback>
                <p:oleObj name="think-cell Folie" r:id="rId3" imgW="425" imgH="426" progId="TCLayout.ActiveDocument.1">
                  <p:embed/>
                  <p:pic>
                    <p:nvPicPr>
                      <p:cNvPr id="31" name="Objekt 30" hidden="1">
                        <a:extLst>
                          <a:ext uri="{FF2B5EF4-FFF2-40B4-BE49-F238E27FC236}">
                            <a16:creationId xmlns:a16="http://schemas.microsoft.com/office/drawing/2014/main" id="{3D9B2E00-0D9D-47B7-9ECB-2303B440D18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0F9A439D-7CAC-44B9-A1C0-F9AC7E569A41}"/>
              </a:ext>
            </a:extLst>
          </p:cNvPr>
          <p:cNvSpPr>
            <a:spLocks noGrp="1"/>
          </p:cNvSpPr>
          <p:nvPr>
            <p:ph type="title"/>
          </p:nvPr>
        </p:nvSpPr>
        <p:spPr/>
        <p:txBody>
          <a:bodyPr vert="horz"/>
          <a:lstStyle/>
          <a:p>
            <a:r>
              <a:rPr lang="de-DE" dirty="0"/>
              <a:t>Projektorganisation</a:t>
            </a:r>
          </a:p>
        </p:txBody>
      </p:sp>
      <p:grpSp>
        <p:nvGrpSpPr>
          <p:cNvPr id="51" name="Gruppieren 50">
            <a:extLst>
              <a:ext uri="{FF2B5EF4-FFF2-40B4-BE49-F238E27FC236}">
                <a16:creationId xmlns:a16="http://schemas.microsoft.com/office/drawing/2014/main" id="{0AEC8BDC-D1DD-471D-A174-275105E49025}"/>
              </a:ext>
            </a:extLst>
          </p:cNvPr>
          <p:cNvGrpSpPr/>
          <p:nvPr/>
        </p:nvGrpSpPr>
        <p:grpSpPr>
          <a:xfrm>
            <a:off x="1596000" y="1605445"/>
            <a:ext cx="9000001" cy="4067183"/>
            <a:chOff x="334962" y="1605445"/>
            <a:chExt cx="9000001" cy="4067183"/>
          </a:xfrm>
        </p:grpSpPr>
        <p:sp>
          <p:nvSpPr>
            <p:cNvPr id="5" name="Rechteck 4">
              <a:extLst>
                <a:ext uri="{FF2B5EF4-FFF2-40B4-BE49-F238E27FC236}">
                  <a16:creationId xmlns:a16="http://schemas.microsoft.com/office/drawing/2014/main" id="{F9AD3294-70A9-4AA9-99E2-A95600E6D7F4}"/>
                </a:ext>
              </a:extLst>
            </p:cNvPr>
            <p:cNvSpPr/>
            <p:nvPr/>
          </p:nvSpPr>
          <p:spPr>
            <a:xfrm>
              <a:off x="334962" y="1605445"/>
              <a:ext cx="9000000" cy="288000"/>
            </a:xfrm>
            <a:prstGeom prst="rect">
              <a:avLst/>
            </a:prstGeom>
            <a:solidFill>
              <a:schemeClr val="tx2"/>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lang="de-DE" sz="1600" b="1" dirty="0">
                  <a:solidFill>
                    <a:schemeClr val="bg1"/>
                  </a:solidFill>
                </a:rPr>
                <a:t>Steuerkreis</a:t>
              </a:r>
            </a:p>
          </p:txBody>
        </p:sp>
        <p:sp>
          <p:nvSpPr>
            <p:cNvPr id="6" name="Rechteck 5">
              <a:extLst>
                <a:ext uri="{FF2B5EF4-FFF2-40B4-BE49-F238E27FC236}">
                  <a16:creationId xmlns:a16="http://schemas.microsoft.com/office/drawing/2014/main" id="{11FE4F3E-3FD3-4923-9E9F-202804721750}"/>
                </a:ext>
              </a:extLst>
            </p:cNvPr>
            <p:cNvSpPr/>
            <p:nvPr/>
          </p:nvSpPr>
          <p:spPr>
            <a:xfrm>
              <a:off x="334962" y="1893445"/>
              <a:ext cx="9000000" cy="540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2" spcCol="0" rtlCol="0" fromWordArt="0" anchor="t" anchorCtr="0" forceAA="0" compatLnSpc="1">
              <a:prstTxWarp prst="textNoShape">
                <a:avLst/>
              </a:prstTxWarp>
              <a:noAutofit/>
            </a:bodyPr>
            <a:lstStyle/>
            <a:p>
              <a:r>
                <a:rPr lang="de-DE" sz="1400" u="sng" dirty="0">
                  <a:solidFill>
                    <a:schemeClr val="tx1"/>
                  </a:solidFill>
                </a:rPr>
                <a:t>Dr. Gerhard Haupt (F)</a:t>
              </a:r>
            </a:p>
            <a:p>
              <a:r>
                <a:rPr lang="de-DE" sz="1400" dirty="0">
                  <a:solidFill>
                    <a:schemeClr val="tx1"/>
                  </a:solidFill>
                </a:rPr>
                <a:t>Timo Lange (INC)</a:t>
              </a:r>
            </a:p>
            <a:p>
              <a:r>
                <a:rPr lang="de-DE" sz="1400" dirty="0">
                  <a:solidFill>
                    <a:schemeClr val="tx1"/>
                  </a:solidFill>
                </a:rPr>
                <a:t>Franziska Simoneit (TG)</a:t>
              </a:r>
            </a:p>
            <a:p>
              <a:r>
                <a:rPr lang="de-DE" sz="1400" dirty="0">
                  <a:solidFill>
                    <a:schemeClr val="tx1"/>
                  </a:solidFill>
                </a:rPr>
                <a:t>Mareike Volkers (CON)</a:t>
              </a:r>
            </a:p>
          </p:txBody>
        </p:sp>
        <p:sp>
          <p:nvSpPr>
            <p:cNvPr id="8" name="Rechteck 7">
              <a:extLst>
                <a:ext uri="{FF2B5EF4-FFF2-40B4-BE49-F238E27FC236}">
                  <a16:creationId xmlns:a16="http://schemas.microsoft.com/office/drawing/2014/main" id="{14E0F98E-B118-4E41-8A8E-B3B10A4F86C0}"/>
                </a:ext>
              </a:extLst>
            </p:cNvPr>
            <p:cNvSpPr/>
            <p:nvPr/>
          </p:nvSpPr>
          <p:spPr>
            <a:xfrm>
              <a:off x="334963" y="2757037"/>
              <a:ext cx="9000000" cy="288000"/>
            </a:xfrm>
            <a:prstGeom prst="rect">
              <a:avLst/>
            </a:prstGeom>
            <a:solidFill>
              <a:schemeClr val="tx2"/>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lang="de-DE" sz="1600" b="1" dirty="0">
                  <a:solidFill>
                    <a:schemeClr val="bg1"/>
                  </a:solidFill>
                </a:rPr>
                <a:t>Projektleitung</a:t>
              </a:r>
            </a:p>
          </p:txBody>
        </p:sp>
        <p:sp>
          <p:nvSpPr>
            <p:cNvPr id="9" name="Rechteck 8">
              <a:extLst>
                <a:ext uri="{FF2B5EF4-FFF2-40B4-BE49-F238E27FC236}">
                  <a16:creationId xmlns:a16="http://schemas.microsoft.com/office/drawing/2014/main" id="{F0516FA3-2B86-44DD-BFE2-D25D39112F3A}"/>
                </a:ext>
              </a:extLst>
            </p:cNvPr>
            <p:cNvSpPr/>
            <p:nvPr/>
          </p:nvSpPr>
          <p:spPr>
            <a:xfrm>
              <a:off x="334963" y="3045899"/>
              <a:ext cx="9000000" cy="28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2" spcCol="0" rtlCol="0" fromWordArt="0" anchor="t" anchorCtr="0" forceAA="0" compatLnSpc="1">
              <a:prstTxWarp prst="textNoShape">
                <a:avLst/>
              </a:prstTxWarp>
              <a:noAutofit/>
            </a:bodyPr>
            <a:lstStyle/>
            <a:p>
              <a:r>
                <a:rPr lang="de-DE" sz="1400" u="sng" dirty="0">
                  <a:solidFill>
                    <a:schemeClr val="tx1"/>
                  </a:solidFill>
                </a:rPr>
                <a:t>Robert Mayer (INC)</a:t>
              </a:r>
            </a:p>
          </p:txBody>
        </p:sp>
        <p:cxnSp>
          <p:nvCxnSpPr>
            <p:cNvPr id="10" name="Gerader Verbinder 9">
              <a:extLst>
                <a:ext uri="{FF2B5EF4-FFF2-40B4-BE49-F238E27FC236}">
                  <a16:creationId xmlns:a16="http://schemas.microsoft.com/office/drawing/2014/main" id="{77C9B266-2BA0-4FF0-9A18-77A19FCF742A}"/>
                </a:ext>
              </a:extLst>
            </p:cNvPr>
            <p:cNvCxnSpPr>
              <a:cxnSpLocks/>
              <a:stCxn id="6" idx="2"/>
              <a:endCxn id="8" idx="0"/>
            </p:cNvCxnSpPr>
            <p:nvPr/>
          </p:nvCxnSpPr>
          <p:spPr>
            <a:xfrm>
              <a:off x="4834962" y="2433445"/>
              <a:ext cx="1" cy="323592"/>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Rechteck 11">
              <a:extLst>
                <a:ext uri="{FF2B5EF4-FFF2-40B4-BE49-F238E27FC236}">
                  <a16:creationId xmlns:a16="http://schemas.microsoft.com/office/drawing/2014/main" id="{65C3EDC4-5379-417B-B141-7ACEABFCE9D0}"/>
                </a:ext>
              </a:extLst>
            </p:cNvPr>
            <p:cNvSpPr/>
            <p:nvPr/>
          </p:nvSpPr>
          <p:spPr>
            <a:xfrm>
              <a:off x="334963" y="3728628"/>
              <a:ext cx="2160000" cy="504000"/>
            </a:xfrm>
            <a:prstGeom prst="rect">
              <a:avLst/>
            </a:prstGeom>
            <a:solidFill>
              <a:schemeClr val="tx2"/>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lang="de-DE" sz="1600" b="1" dirty="0">
                  <a:solidFill>
                    <a:schemeClr val="bg1"/>
                  </a:solidFill>
                </a:rPr>
                <a:t>Communication &amp; Change</a:t>
              </a:r>
            </a:p>
          </p:txBody>
        </p:sp>
        <p:sp>
          <p:nvSpPr>
            <p:cNvPr id="13" name="Rechteck 12">
              <a:extLst>
                <a:ext uri="{FF2B5EF4-FFF2-40B4-BE49-F238E27FC236}">
                  <a16:creationId xmlns:a16="http://schemas.microsoft.com/office/drawing/2014/main" id="{D93DD20C-C0FC-4CC3-ABD4-958CCE2447EB}"/>
                </a:ext>
              </a:extLst>
            </p:cNvPr>
            <p:cNvSpPr/>
            <p:nvPr/>
          </p:nvSpPr>
          <p:spPr>
            <a:xfrm>
              <a:off x="334963" y="4232628"/>
              <a:ext cx="2160000" cy="1440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r>
                <a:rPr lang="de-DE" sz="1400" u="sng" dirty="0">
                  <a:solidFill>
                    <a:schemeClr val="tx1"/>
                  </a:solidFill>
                </a:rPr>
                <a:t>Tobias Schmied (CC)</a:t>
              </a:r>
            </a:p>
            <a:p>
              <a:r>
                <a:rPr lang="de-DE" sz="1400" dirty="0">
                  <a:solidFill>
                    <a:schemeClr val="tx1"/>
                  </a:solidFill>
                </a:rPr>
                <a:t>Anne Vogt (CC)</a:t>
              </a:r>
            </a:p>
          </p:txBody>
        </p:sp>
        <p:sp>
          <p:nvSpPr>
            <p:cNvPr id="15" name="Rechteck 14">
              <a:extLst>
                <a:ext uri="{FF2B5EF4-FFF2-40B4-BE49-F238E27FC236}">
                  <a16:creationId xmlns:a16="http://schemas.microsoft.com/office/drawing/2014/main" id="{0720A133-C63B-48E5-A761-622C4DA3093B}"/>
                </a:ext>
              </a:extLst>
            </p:cNvPr>
            <p:cNvSpPr/>
            <p:nvPr/>
          </p:nvSpPr>
          <p:spPr>
            <a:xfrm>
              <a:off x="7174962" y="3728628"/>
              <a:ext cx="2160000" cy="504000"/>
            </a:xfrm>
            <a:prstGeom prst="rect">
              <a:avLst/>
            </a:prstGeom>
            <a:solidFill>
              <a:schemeClr val="tx2"/>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lang="de-DE" sz="1600" b="1" dirty="0">
                  <a:solidFill>
                    <a:schemeClr val="bg1"/>
                  </a:solidFill>
                </a:rPr>
                <a:t>TP 2: E-Commerce</a:t>
              </a:r>
            </a:p>
          </p:txBody>
        </p:sp>
        <p:sp>
          <p:nvSpPr>
            <p:cNvPr id="16" name="Rechteck 15">
              <a:extLst>
                <a:ext uri="{FF2B5EF4-FFF2-40B4-BE49-F238E27FC236}">
                  <a16:creationId xmlns:a16="http://schemas.microsoft.com/office/drawing/2014/main" id="{233D4221-04C9-4B94-B949-C90DAEF8AFFB}"/>
                </a:ext>
              </a:extLst>
            </p:cNvPr>
            <p:cNvSpPr/>
            <p:nvPr/>
          </p:nvSpPr>
          <p:spPr>
            <a:xfrm>
              <a:off x="7174962" y="4232628"/>
              <a:ext cx="2160000" cy="1440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r>
                <a:rPr lang="de-DE" sz="1400" u="sng" dirty="0">
                  <a:solidFill>
                    <a:schemeClr val="tx1"/>
                  </a:solidFill>
                </a:rPr>
                <a:t>Alexa Schmid (TG)</a:t>
              </a:r>
            </a:p>
            <a:p>
              <a:r>
                <a:rPr lang="de-DE" sz="1400" dirty="0">
                  <a:solidFill>
                    <a:schemeClr val="tx1"/>
                  </a:solidFill>
                </a:rPr>
                <a:t>Thomas Horn (TG)</a:t>
              </a:r>
            </a:p>
            <a:p>
              <a:r>
                <a:rPr lang="de-DE" sz="1400" dirty="0">
                  <a:solidFill>
                    <a:schemeClr val="tx1"/>
                  </a:solidFill>
                </a:rPr>
                <a:t>N.N. (tbd)</a:t>
              </a:r>
            </a:p>
            <a:p>
              <a:endParaRPr lang="de-DE" sz="1400" dirty="0">
                <a:solidFill>
                  <a:schemeClr val="tx1"/>
                </a:solidFill>
              </a:endParaRPr>
            </a:p>
          </p:txBody>
        </p:sp>
        <p:sp>
          <p:nvSpPr>
            <p:cNvPr id="18" name="Rechteck 17">
              <a:extLst>
                <a:ext uri="{FF2B5EF4-FFF2-40B4-BE49-F238E27FC236}">
                  <a16:creationId xmlns:a16="http://schemas.microsoft.com/office/drawing/2014/main" id="{C8358AC8-2A02-48DB-A431-C99CA3C54F17}"/>
                </a:ext>
              </a:extLst>
            </p:cNvPr>
            <p:cNvSpPr/>
            <p:nvPr/>
          </p:nvSpPr>
          <p:spPr>
            <a:xfrm>
              <a:off x="4894963" y="3728628"/>
              <a:ext cx="2160000" cy="504000"/>
            </a:xfrm>
            <a:prstGeom prst="rect">
              <a:avLst/>
            </a:prstGeom>
            <a:solidFill>
              <a:schemeClr val="tx2"/>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lang="de-DE" sz="1600" b="1" dirty="0">
                  <a:solidFill>
                    <a:schemeClr val="bg1"/>
                  </a:solidFill>
                </a:rPr>
                <a:t>TP 1: Filialnetz</a:t>
              </a:r>
            </a:p>
          </p:txBody>
        </p:sp>
        <p:sp>
          <p:nvSpPr>
            <p:cNvPr id="19" name="Rechteck 18">
              <a:extLst>
                <a:ext uri="{FF2B5EF4-FFF2-40B4-BE49-F238E27FC236}">
                  <a16:creationId xmlns:a16="http://schemas.microsoft.com/office/drawing/2014/main" id="{D298B2CA-C7E5-4DBB-AECA-5C4D5A26DDD8}"/>
                </a:ext>
              </a:extLst>
            </p:cNvPr>
            <p:cNvSpPr/>
            <p:nvPr/>
          </p:nvSpPr>
          <p:spPr>
            <a:xfrm>
              <a:off x="4894963" y="4232628"/>
              <a:ext cx="2160000" cy="1440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r>
                <a:rPr lang="de-DE" sz="1400" u="sng" dirty="0">
                  <a:solidFill>
                    <a:schemeClr val="tx1"/>
                  </a:solidFill>
                </a:rPr>
                <a:t>Maike Hinsch (TG)</a:t>
              </a:r>
            </a:p>
            <a:p>
              <a:r>
                <a:rPr lang="de-DE" sz="1400" dirty="0">
                  <a:solidFill>
                    <a:schemeClr val="tx1"/>
                  </a:solidFill>
                </a:rPr>
                <a:t>Helge Wolters (INC)</a:t>
              </a:r>
            </a:p>
            <a:p>
              <a:r>
                <a:rPr lang="de-DE" sz="1400" dirty="0">
                  <a:solidFill>
                    <a:schemeClr val="tx1"/>
                  </a:solidFill>
                </a:rPr>
                <a:t>N.N. (tbd)</a:t>
              </a:r>
            </a:p>
          </p:txBody>
        </p:sp>
        <p:cxnSp>
          <p:nvCxnSpPr>
            <p:cNvPr id="20" name="Verbinder: gewinkelt 19">
              <a:extLst>
                <a:ext uri="{FF2B5EF4-FFF2-40B4-BE49-F238E27FC236}">
                  <a16:creationId xmlns:a16="http://schemas.microsoft.com/office/drawing/2014/main" id="{179D8A26-5FDD-437E-AC90-06032E3B4001}"/>
                </a:ext>
              </a:extLst>
            </p:cNvPr>
            <p:cNvCxnSpPr>
              <a:stCxn id="9" idx="2"/>
              <a:endCxn id="12" idx="0"/>
            </p:cNvCxnSpPr>
            <p:nvPr/>
          </p:nvCxnSpPr>
          <p:spPr>
            <a:xfrm rot="5400000">
              <a:off x="2927599" y="1821263"/>
              <a:ext cx="394729" cy="3420000"/>
            </a:xfrm>
            <a:prstGeom prst="bentConnector3">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 name="Verbinder: gewinkelt 20">
              <a:extLst>
                <a:ext uri="{FF2B5EF4-FFF2-40B4-BE49-F238E27FC236}">
                  <a16:creationId xmlns:a16="http://schemas.microsoft.com/office/drawing/2014/main" id="{7B38F31A-48D0-43FA-A65D-F3165AF04DC1}"/>
                </a:ext>
              </a:extLst>
            </p:cNvPr>
            <p:cNvCxnSpPr>
              <a:cxnSpLocks/>
              <a:stCxn id="9" idx="2"/>
              <a:endCxn id="15" idx="0"/>
            </p:cNvCxnSpPr>
            <p:nvPr/>
          </p:nvCxnSpPr>
          <p:spPr>
            <a:xfrm rot="16200000" flipH="1">
              <a:off x="6347598" y="1821263"/>
              <a:ext cx="394729" cy="3419999"/>
            </a:xfrm>
            <a:prstGeom prst="bentConnector3">
              <a:avLst>
                <a:gd name="adj1" fmla="val 50000"/>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43" name="Rechteck 42">
              <a:extLst>
                <a:ext uri="{FF2B5EF4-FFF2-40B4-BE49-F238E27FC236}">
                  <a16:creationId xmlns:a16="http://schemas.microsoft.com/office/drawing/2014/main" id="{D63B20A8-57E6-4198-9539-65B23B0E021F}"/>
                </a:ext>
              </a:extLst>
            </p:cNvPr>
            <p:cNvSpPr/>
            <p:nvPr/>
          </p:nvSpPr>
          <p:spPr>
            <a:xfrm>
              <a:off x="2614963" y="3728628"/>
              <a:ext cx="2160000" cy="504000"/>
            </a:xfrm>
            <a:prstGeom prst="rect">
              <a:avLst/>
            </a:prstGeom>
            <a:solidFill>
              <a:schemeClr val="tx2"/>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lang="de-DE" sz="1600" b="1" dirty="0">
                  <a:solidFill>
                    <a:schemeClr val="bg1"/>
                  </a:solidFill>
                </a:rPr>
                <a:t>PMO</a:t>
              </a:r>
            </a:p>
          </p:txBody>
        </p:sp>
        <p:sp>
          <p:nvSpPr>
            <p:cNvPr id="44" name="Rechteck 43">
              <a:extLst>
                <a:ext uri="{FF2B5EF4-FFF2-40B4-BE49-F238E27FC236}">
                  <a16:creationId xmlns:a16="http://schemas.microsoft.com/office/drawing/2014/main" id="{10BC52E2-8000-4CE2-9B81-7E157E773C1D}"/>
                </a:ext>
              </a:extLst>
            </p:cNvPr>
            <p:cNvSpPr/>
            <p:nvPr/>
          </p:nvSpPr>
          <p:spPr>
            <a:xfrm>
              <a:off x="2614963" y="4232628"/>
              <a:ext cx="2160000" cy="1440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r>
                <a:rPr lang="de-DE" sz="1400" u="sng" dirty="0">
                  <a:solidFill>
                    <a:schemeClr val="tx1"/>
                  </a:solidFill>
                </a:rPr>
                <a:t>Chris Grohe (INC)</a:t>
              </a:r>
            </a:p>
            <a:p>
              <a:r>
                <a:rPr lang="de-DE" sz="1400" dirty="0">
                  <a:solidFill>
                    <a:schemeClr val="tx1"/>
                  </a:solidFill>
                </a:rPr>
                <a:t>N.N. (tbd)</a:t>
              </a:r>
            </a:p>
          </p:txBody>
        </p:sp>
        <p:cxnSp>
          <p:nvCxnSpPr>
            <p:cNvPr id="45" name="Verbinder: gewinkelt 44">
              <a:extLst>
                <a:ext uri="{FF2B5EF4-FFF2-40B4-BE49-F238E27FC236}">
                  <a16:creationId xmlns:a16="http://schemas.microsoft.com/office/drawing/2014/main" id="{6B6D72C5-4ADD-4EFD-AA8E-F4C20A485100}"/>
                </a:ext>
              </a:extLst>
            </p:cNvPr>
            <p:cNvCxnSpPr>
              <a:cxnSpLocks/>
              <a:stCxn id="9" idx="2"/>
              <a:endCxn id="43" idx="0"/>
            </p:cNvCxnSpPr>
            <p:nvPr/>
          </p:nvCxnSpPr>
          <p:spPr>
            <a:xfrm rot="5400000">
              <a:off x="4067599" y="2961263"/>
              <a:ext cx="394729" cy="1140000"/>
            </a:xfrm>
            <a:prstGeom prst="bentConnector3">
              <a:avLst>
                <a:gd name="adj1" fmla="val 50000"/>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8" name="Verbinder: gewinkelt 47">
              <a:extLst>
                <a:ext uri="{FF2B5EF4-FFF2-40B4-BE49-F238E27FC236}">
                  <a16:creationId xmlns:a16="http://schemas.microsoft.com/office/drawing/2014/main" id="{5E929CB5-10B0-46DF-A7EE-32CD5B3F37D7}"/>
                </a:ext>
              </a:extLst>
            </p:cNvPr>
            <p:cNvCxnSpPr>
              <a:cxnSpLocks/>
              <a:stCxn id="9" idx="2"/>
              <a:endCxn id="18" idx="0"/>
            </p:cNvCxnSpPr>
            <p:nvPr/>
          </p:nvCxnSpPr>
          <p:spPr>
            <a:xfrm rot="16200000" flipH="1">
              <a:off x="5207599" y="2961263"/>
              <a:ext cx="394729" cy="1140000"/>
            </a:xfrm>
            <a:prstGeom prst="bentConnector3">
              <a:avLst>
                <a:gd name="adj1" fmla="val 50000"/>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25" name="Rechteck 24">
            <a:extLst>
              <a:ext uri="{FF2B5EF4-FFF2-40B4-BE49-F238E27FC236}">
                <a16:creationId xmlns:a16="http://schemas.microsoft.com/office/drawing/2014/main" id="{94562A1A-CF0E-4FC8-BCC3-1BE11B9A5E64}"/>
              </a:ext>
            </a:extLst>
          </p:cNvPr>
          <p:cNvSpPr/>
          <p:nvPr/>
        </p:nvSpPr>
        <p:spPr>
          <a:xfrm>
            <a:off x="10954961" y="69705"/>
            <a:ext cx="900000" cy="252000"/>
          </a:xfrm>
          <a:prstGeom prst="rect">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b="1" dirty="0"/>
              <a:t>Entwurf</a:t>
            </a:r>
          </a:p>
        </p:txBody>
      </p:sp>
      <p:sp>
        <p:nvSpPr>
          <p:cNvPr id="27" name="Textfeld 26">
            <a:extLst>
              <a:ext uri="{FF2B5EF4-FFF2-40B4-BE49-F238E27FC236}">
                <a16:creationId xmlns:a16="http://schemas.microsoft.com/office/drawing/2014/main" id="{9A6D4C5B-33BF-4B9C-8889-371C1DF2359B}"/>
              </a:ext>
            </a:extLst>
          </p:cNvPr>
          <p:cNvSpPr txBox="1"/>
          <p:nvPr/>
        </p:nvSpPr>
        <p:spPr>
          <a:xfrm>
            <a:off x="334963" y="6544666"/>
            <a:ext cx="1380506" cy="215444"/>
          </a:xfrm>
          <a:prstGeom prst="rect">
            <a:avLst/>
          </a:prstGeom>
          <a:noFill/>
        </p:spPr>
        <p:txBody>
          <a:bodyPr wrap="none" rtlCol="0" anchor="b">
            <a:spAutoFit/>
          </a:bodyPr>
          <a:lstStyle/>
          <a:p>
            <a:r>
              <a:rPr lang="de-DE" sz="800" dirty="0"/>
              <a:t>Quelle: Projektteam Phönix</a:t>
            </a:r>
          </a:p>
        </p:txBody>
      </p:sp>
    </p:spTree>
    <p:extLst>
      <p:ext uri="{BB962C8B-B14F-4D97-AF65-F5344CB8AC3E}">
        <p14:creationId xmlns:p14="http://schemas.microsoft.com/office/powerpoint/2010/main" val="214720885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9" name="Objekt 58" hidden="1">
            <a:extLst>
              <a:ext uri="{FF2B5EF4-FFF2-40B4-BE49-F238E27FC236}">
                <a16:creationId xmlns:a16="http://schemas.microsoft.com/office/drawing/2014/main" id="{60528071-3734-46B2-8DCF-360C1F77A786}"/>
              </a:ext>
            </a:extLst>
          </p:cNvPr>
          <p:cNvGraphicFramePr>
            <a:graphicFrameLocks noChangeAspect="1"/>
          </p:cNvGraphicFramePr>
          <p:nvPr>
            <p:custDataLst>
              <p:tags r:id="rId1"/>
            </p:custDataLst>
            <p:extLst>
              <p:ext uri="{D42A27DB-BD31-4B8C-83A1-F6EECF244321}">
                <p14:modId xmlns:p14="http://schemas.microsoft.com/office/powerpoint/2010/main" val="16702036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25" imgH="426" progId="TCLayout.ActiveDocument.1">
                  <p:embed/>
                </p:oleObj>
              </mc:Choice>
              <mc:Fallback>
                <p:oleObj name="think-cell Folie" r:id="rId4" imgW="425" imgH="426" progId="TCLayout.ActiveDocument.1">
                  <p:embed/>
                  <p:pic>
                    <p:nvPicPr>
                      <p:cNvPr id="59" name="Objekt 58" hidden="1">
                        <a:extLst>
                          <a:ext uri="{FF2B5EF4-FFF2-40B4-BE49-F238E27FC236}">
                            <a16:creationId xmlns:a16="http://schemas.microsoft.com/office/drawing/2014/main" id="{60528071-3734-46B2-8DCF-360C1F77A78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294BDE24-F7BA-44EF-8B87-377957F26EE4}"/>
              </a:ext>
            </a:extLst>
          </p:cNvPr>
          <p:cNvSpPr>
            <a:spLocks noGrp="1"/>
          </p:cNvSpPr>
          <p:nvPr>
            <p:ph type="title"/>
          </p:nvPr>
        </p:nvSpPr>
        <p:spPr>
          <a:xfrm>
            <a:off x="334963" y="333374"/>
            <a:ext cx="11520000" cy="540000"/>
          </a:xfrm>
        </p:spPr>
        <p:txBody>
          <a:bodyPr vert="horz"/>
          <a:lstStyle/>
          <a:p>
            <a:r>
              <a:rPr lang="de-DE" dirty="0"/>
              <a:t>Projektrollen &amp; Verantwortlichkeiten</a:t>
            </a:r>
          </a:p>
        </p:txBody>
      </p:sp>
      <p:cxnSp>
        <p:nvCxnSpPr>
          <p:cNvPr id="6" name="Gerader Verbinder 5">
            <a:extLst>
              <a:ext uri="{FF2B5EF4-FFF2-40B4-BE49-F238E27FC236}">
                <a16:creationId xmlns:a16="http://schemas.microsoft.com/office/drawing/2014/main" id="{0E3FEF84-13CB-4831-BC45-0F3FC6CE4DE1}"/>
              </a:ext>
            </a:extLst>
          </p:cNvPr>
          <p:cNvCxnSpPr/>
          <p:nvPr/>
        </p:nvCxnSpPr>
        <p:spPr>
          <a:xfrm>
            <a:off x="1904562" y="2165272"/>
            <a:ext cx="1800000" cy="0"/>
          </a:xfrm>
          <a:prstGeom prst="line">
            <a:avLst/>
          </a:prstGeom>
          <a:ln w="12700" cap="rnd">
            <a:solidFill>
              <a:schemeClr val="tx1"/>
            </a:solidFill>
            <a:prstDash val="sysDash"/>
          </a:ln>
        </p:spPr>
        <p:style>
          <a:lnRef idx="1">
            <a:schemeClr val="accent1"/>
          </a:lnRef>
          <a:fillRef idx="0">
            <a:schemeClr val="accent1"/>
          </a:fillRef>
          <a:effectRef idx="0">
            <a:schemeClr val="accent1"/>
          </a:effectRef>
          <a:fontRef idx="minor">
            <a:schemeClr val="tx1"/>
          </a:fontRef>
        </p:style>
      </p:cxnSp>
      <p:sp>
        <p:nvSpPr>
          <p:cNvPr id="12" name="Textplatzhalter 5">
            <a:extLst>
              <a:ext uri="{FF2B5EF4-FFF2-40B4-BE49-F238E27FC236}">
                <a16:creationId xmlns:a16="http://schemas.microsoft.com/office/drawing/2014/main" id="{3E9568C4-2F73-431F-BCA3-7F21F3E917A5}"/>
              </a:ext>
            </a:extLst>
          </p:cNvPr>
          <p:cNvSpPr txBox="1">
            <a:spLocks/>
          </p:cNvSpPr>
          <p:nvPr/>
        </p:nvSpPr>
        <p:spPr>
          <a:xfrm>
            <a:off x="1904561" y="2265644"/>
            <a:ext cx="1800000" cy="1723549"/>
          </a:xfrm>
          <a:prstGeom prst="rect">
            <a:avLst/>
          </a:prstGeom>
        </p:spPr>
        <p:txBody>
          <a:bodyPr vert="horz" wrap="square" lIns="0" tIns="0" rIns="0" bIns="0" rtlCol="0">
            <a:spAutoFit/>
          </a:bodyPr>
          <a:lstStyle>
            <a:lvl1pPr marL="0" indent="0" algn="l" defTabSz="914400" rtl="0" eaLnBrk="1" latinLnBrk="0" hangingPunct="1">
              <a:spcBef>
                <a:spcPts val="0"/>
              </a:spcBef>
              <a:spcAft>
                <a:spcPts val="0"/>
              </a:spcAft>
              <a:buFont typeface="Arial" pitchFamily="34" charset="0"/>
              <a:buNone/>
              <a:defRPr sz="1600" kern="1200">
                <a:solidFill>
                  <a:schemeClr val="tx1"/>
                </a:solidFill>
                <a:latin typeface="+mn-lt"/>
                <a:ea typeface="+mn-ea"/>
                <a:cs typeface="+mn-cs"/>
              </a:defRPr>
            </a:lvl1pPr>
            <a:lvl2pPr marL="144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2pPr>
            <a:lvl3pPr marL="288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3pPr>
            <a:lvl4pPr marL="432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4pPr>
            <a:lvl5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5pPr>
            <a:lvl6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6pPr>
            <a:lvl7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7pPr>
            <a:lvl8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8pPr>
            <a:lvl9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9pPr>
          </a:lstStyle>
          <a:p>
            <a:pPr marL="216000" indent="-216000">
              <a:buFont typeface="Wingdings" panose="05000000000000000000" pitchFamily="2" charset="2"/>
              <a:buChar char="§"/>
            </a:pPr>
            <a:r>
              <a:rPr lang="de-DE" sz="1400" dirty="0"/>
              <a:t>Leitung, Planung, Durchführung und Steuerung des Projekts</a:t>
            </a:r>
          </a:p>
          <a:p>
            <a:pPr marL="216000" indent="-216000">
              <a:buFont typeface="Wingdings" panose="05000000000000000000" pitchFamily="2" charset="2"/>
              <a:buChar char="§"/>
            </a:pPr>
            <a:r>
              <a:rPr lang="de-DE" sz="1400" dirty="0"/>
              <a:t>Ansprechpartner für den Steuerkreis</a:t>
            </a:r>
          </a:p>
          <a:p>
            <a:pPr marL="216000" indent="-216000">
              <a:buFont typeface="Wingdings" panose="05000000000000000000" pitchFamily="2" charset="2"/>
              <a:buChar char="§"/>
            </a:pPr>
            <a:r>
              <a:rPr lang="de-DE" sz="1400" dirty="0"/>
              <a:t>Coaching/ Sparring der Teilprojektleiter</a:t>
            </a:r>
          </a:p>
        </p:txBody>
      </p:sp>
      <p:cxnSp>
        <p:nvCxnSpPr>
          <p:cNvPr id="18" name="Gerader Verbinder 17">
            <a:extLst>
              <a:ext uri="{FF2B5EF4-FFF2-40B4-BE49-F238E27FC236}">
                <a16:creationId xmlns:a16="http://schemas.microsoft.com/office/drawing/2014/main" id="{FEC01CF5-D336-474A-AC9D-27A406062D57}"/>
              </a:ext>
            </a:extLst>
          </p:cNvPr>
          <p:cNvCxnSpPr/>
          <p:nvPr/>
        </p:nvCxnSpPr>
        <p:spPr>
          <a:xfrm>
            <a:off x="1904562" y="4061599"/>
            <a:ext cx="1800000" cy="0"/>
          </a:xfrm>
          <a:prstGeom prst="line">
            <a:avLst/>
          </a:prstGeom>
          <a:ln w="12700" cap="rnd">
            <a:solidFill>
              <a:schemeClr val="tx1"/>
            </a:solidFill>
            <a:prstDash val="sysDash"/>
          </a:ln>
        </p:spPr>
        <p:style>
          <a:lnRef idx="1">
            <a:schemeClr val="accent1"/>
          </a:lnRef>
          <a:fillRef idx="0">
            <a:schemeClr val="accent1"/>
          </a:fillRef>
          <a:effectRef idx="0">
            <a:schemeClr val="accent1"/>
          </a:effectRef>
          <a:fontRef idx="minor">
            <a:schemeClr val="tx1"/>
          </a:fontRef>
        </p:style>
      </p:cxnSp>
      <p:sp>
        <p:nvSpPr>
          <p:cNvPr id="24" name="Textplatzhalter 5">
            <a:extLst>
              <a:ext uri="{FF2B5EF4-FFF2-40B4-BE49-F238E27FC236}">
                <a16:creationId xmlns:a16="http://schemas.microsoft.com/office/drawing/2014/main" id="{133E0348-3C9C-4A18-98A3-EDA16E4149FA}"/>
              </a:ext>
            </a:extLst>
          </p:cNvPr>
          <p:cNvSpPr txBox="1">
            <a:spLocks/>
          </p:cNvSpPr>
          <p:nvPr/>
        </p:nvSpPr>
        <p:spPr>
          <a:xfrm>
            <a:off x="1904561" y="4161969"/>
            <a:ext cx="1800000" cy="2154436"/>
          </a:xfrm>
          <a:prstGeom prst="rect">
            <a:avLst/>
          </a:prstGeom>
        </p:spPr>
        <p:txBody>
          <a:bodyPr vert="horz" wrap="square" lIns="0" tIns="0" rIns="0" bIns="0" rtlCol="0">
            <a:spAutoFit/>
          </a:bodyPr>
          <a:lstStyle>
            <a:lvl1pPr marL="0" indent="0" algn="l" defTabSz="914400" rtl="0" eaLnBrk="1" latinLnBrk="0" hangingPunct="1">
              <a:spcBef>
                <a:spcPts val="0"/>
              </a:spcBef>
              <a:spcAft>
                <a:spcPts val="0"/>
              </a:spcAft>
              <a:buFont typeface="Arial" pitchFamily="34" charset="0"/>
              <a:buNone/>
              <a:defRPr sz="1600" kern="1200">
                <a:solidFill>
                  <a:schemeClr val="tx1"/>
                </a:solidFill>
                <a:latin typeface="+mn-lt"/>
                <a:ea typeface="+mn-ea"/>
                <a:cs typeface="+mn-cs"/>
              </a:defRPr>
            </a:lvl1pPr>
            <a:lvl2pPr marL="144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2pPr>
            <a:lvl3pPr marL="288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3pPr>
            <a:lvl4pPr marL="432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4pPr>
            <a:lvl5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5pPr>
            <a:lvl6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6pPr>
            <a:lvl7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7pPr>
            <a:lvl8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8pPr>
            <a:lvl9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9pPr>
          </a:lstStyle>
          <a:p>
            <a:pPr marL="216000" indent="-216000">
              <a:buFont typeface="Wingdings" panose="05000000000000000000" pitchFamily="2" charset="2"/>
              <a:buChar char="§"/>
            </a:pPr>
            <a:r>
              <a:rPr lang="de-DE" sz="1400" dirty="0"/>
              <a:t>Einhaltung der Projektziele</a:t>
            </a:r>
          </a:p>
          <a:p>
            <a:pPr marL="216000" indent="-216000">
              <a:buFont typeface="Wingdings" panose="05000000000000000000" pitchFamily="2" charset="2"/>
              <a:buChar char="§"/>
            </a:pPr>
            <a:r>
              <a:rPr lang="de-DE" sz="1400" dirty="0"/>
              <a:t>Treffen von Projekt-entscheidungen im Rahmen Projektumfang</a:t>
            </a:r>
          </a:p>
          <a:p>
            <a:pPr marL="216000" indent="-216000">
              <a:buFont typeface="Wingdings" panose="05000000000000000000" pitchFamily="2" charset="2"/>
              <a:buChar char="§"/>
            </a:pPr>
            <a:r>
              <a:rPr lang="de-DE" sz="1400" dirty="0"/>
              <a:t>Verantwortung Gesamtprojekt</a:t>
            </a:r>
          </a:p>
          <a:p>
            <a:pPr marL="216000" indent="-216000">
              <a:buFont typeface="Wingdings" panose="05000000000000000000" pitchFamily="2" charset="2"/>
              <a:buChar char="§"/>
            </a:pPr>
            <a:r>
              <a:rPr lang="de-DE" sz="1400" dirty="0"/>
              <a:t>Steuerung von Projektrisiken</a:t>
            </a:r>
          </a:p>
        </p:txBody>
      </p:sp>
      <p:sp>
        <p:nvSpPr>
          <p:cNvPr id="30" name="Textplatzhalter 5">
            <a:extLst>
              <a:ext uri="{FF2B5EF4-FFF2-40B4-BE49-F238E27FC236}">
                <a16:creationId xmlns:a16="http://schemas.microsoft.com/office/drawing/2014/main" id="{749CC772-1CE3-4426-A136-8BCE6E6E4CD4}"/>
              </a:ext>
            </a:extLst>
          </p:cNvPr>
          <p:cNvSpPr txBox="1">
            <a:spLocks/>
          </p:cNvSpPr>
          <p:nvPr/>
        </p:nvSpPr>
        <p:spPr>
          <a:xfrm>
            <a:off x="1904561" y="1695568"/>
            <a:ext cx="1800000" cy="215444"/>
          </a:xfrm>
          <a:prstGeom prst="rect">
            <a:avLst/>
          </a:prstGeom>
        </p:spPr>
        <p:txBody>
          <a:bodyPr vert="horz" wrap="square" lIns="0" tIns="0" rIns="0" bIns="0" rtlCol="0">
            <a:spAutoFit/>
          </a:bodyPr>
          <a:lstStyle>
            <a:lvl1pPr marL="0" indent="0" algn="l" defTabSz="914400" rtl="0" eaLnBrk="1" latinLnBrk="0" hangingPunct="1">
              <a:spcBef>
                <a:spcPts val="0"/>
              </a:spcBef>
              <a:spcAft>
                <a:spcPts val="0"/>
              </a:spcAft>
              <a:buFont typeface="Arial" pitchFamily="34" charset="0"/>
              <a:buNone/>
              <a:defRPr sz="1600" kern="1200">
                <a:solidFill>
                  <a:schemeClr val="tx1"/>
                </a:solidFill>
                <a:latin typeface="+mn-lt"/>
                <a:ea typeface="+mn-ea"/>
                <a:cs typeface="+mn-cs"/>
              </a:defRPr>
            </a:lvl1pPr>
            <a:lvl2pPr marL="144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2pPr>
            <a:lvl3pPr marL="288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3pPr>
            <a:lvl4pPr marL="432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4pPr>
            <a:lvl5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5pPr>
            <a:lvl6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6pPr>
            <a:lvl7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7pPr>
            <a:lvl8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8pPr>
            <a:lvl9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9pPr>
          </a:lstStyle>
          <a:p>
            <a:r>
              <a:rPr lang="de-DE" sz="1400" dirty="0"/>
              <a:t>Robert Mayer (INC)</a:t>
            </a:r>
          </a:p>
        </p:txBody>
      </p:sp>
      <p:cxnSp>
        <p:nvCxnSpPr>
          <p:cNvPr id="36" name="Gerader Verbinder 35">
            <a:extLst>
              <a:ext uri="{FF2B5EF4-FFF2-40B4-BE49-F238E27FC236}">
                <a16:creationId xmlns:a16="http://schemas.microsoft.com/office/drawing/2014/main" id="{693D6269-4939-44E7-83B4-5054116F7F76}"/>
              </a:ext>
            </a:extLst>
          </p:cNvPr>
          <p:cNvCxnSpPr/>
          <p:nvPr/>
        </p:nvCxnSpPr>
        <p:spPr>
          <a:xfrm>
            <a:off x="1904562" y="1595196"/>
            <a:ext cx="1800000" cy="0"/>
          </a:xfrm>
          <a:prstGeom prst="line">
            <a:avLst/>
          </a:prstGeom>
          <a:ln w="12700" cap="flat">
            <a:solidFill>
              <a:schemeClr val="tx1"/>
            </a:solidFill>
            <a:prstDash val="solid"/>
          </a:ln>
        </p:spPr>
        <p:style>
          <a:lnRef idx="1">
            <a:schemeClr val="accent1"/>
          </a:lnRef>
          <a:fillRef idx="0">
            <a:schemeClr val="accent1"/>
          </a:fillRef>
          <a:effectRef idx="0">
            <a:schemeClr val="accent1"/>
          </a:effectRef>
          <a:fontRef idx="minor">
            <a:schemeClr val="tx1"/>
          </a:fontRef>
        </p:style>
      </p:cxnSp>
      <p:sp>
        <p:nvSpPr>
          <p:cNvPr id="37" name="Textplatzhalter 5">
            <a:extLst>
              <a:ext uri="{FF2B5EF4-FFF2-40B4-BE49-F238E27FC236}">
                <a16:creationId xmlns:a16="http://schemas.microsoft.com/office/drawing/2014/main" id="{5A185F24-26A4-412E-B5BD-C0E815437B80}"/>
              </a:ext>
            </a:extLst>
          </p:cNvPr>
          <p:cNvSpPr txBox="1">
            <a:spLocks/>
          </p:cNvSpPr>
          <p:nvPr/>
        </p:nvSpPr>
        <p:spPr>
          <a:xfrm>
            <a:off x="1904562" y="1351085"/>
            <a:ext cx="1800000" cy="215444"/>
          </a:xfrm>
          <a:prstGeom prst="rect">
            <a:avLst/>
          </a:prstGeom>
        </p:spPr>
        <p:txBody>
          <a:bodyPr vert="horz" wrap="square" lIns="0" tIns="0" rIns="0" bIns="0" rtlCol="0" anchor="b">
            <a:spAutoFit/>
          </a:bodyPr>
          <a:lstStyle>
            <a:lvl1pPr marL="0" indent="0" algn="l" defTabSz="914400" rtl="0" eaLnBrk="1" latinLnBrk="0" hangingPunct="1">
              <a:spcBef>
                <a:spcPts val="0"/>
              </a:spcBef>
              <a:spcAft>
                <a:spcPts val="0"/>
              </a:spcAft>
              <a:buFont typeface="Arial" pitchFamily="34" charset="0"/>
              <a:buNone/>
              <a:defRPr sz="1600" kern="1200">
                <a:solidFill>
                  <a:schemeClr val="tx1"/>
                </a:solidFill>
                <a:latin typeface="+mn-lt"/>
                <a:ea typeface="+mn-ea"/>
                <a:cs typeface="+mn-cs"/>
              </a:defRPr>
            </a:lvl1pPr>
            <a:lvl2pPr marL="144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2pPr>
            <a:lvl3pPr marL="288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3pPr>
            <a:lvl4pPr marL="432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4pPr>
            <a:lvl5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5pPr>
            <a:lvl6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6pPr>
            <a:lvl7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7pPr>
            <a:lvl8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8pPr>
            <a:lvl9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9pPr>
          </a:lstStyle>
          <a:p>
            <a:r>
              <a:rPr lang="de-DE" sz="1400" b="1" dirty="0"/>
              <a:t>Projektleiter</a:t>
            </a:r>
          </a:p>
        </p:txBody>
      </p:sp>
      <p:cxnSp>
        <p:nvCxnSpPr>
          <p:cNvPr id="7" name="Gerader Verbinder 6">
            <a:extLst>
              <a:ext uri="{FF2B5EF4-FFF2-40B4-BE49-F238E27FC236}">
                <a16:creationId xmlns:a16="http://schemas.microsoft.com/office/drawing/2014/main" id="{798EBC30-BE46-499B-8866-1D95CBA4AE54}"/>
              </a:ext>
            </a:extLst>
          </p:cNvPr>
          <p:cNvCxnSpPr/>
          <p:nvPr/>
        </p:nvCxnSpPr>
        <p:spPr>
          <a:xfrm>
            <a:off x="3942162" y="2165272"/>
            <a:ext cx="1800000" cy="0"/>
          </a:xfrm>
          <a:prstGeom prst="line">
            <a:avLst/>
          </a:prstGeom>
          <a:ln w="12700" cap="rnd">
            <a:solidFill>
              <a:schemeClr val="tx1"/>
            </a:solidFill>
            <a:prstDash val="sysDash"/>
          </a:ln>
        </p:spPr>
        <p:style>
          <a:lnRef idx="1">
            <a:schemeClr val="accent1"/>
          </a:lnRef>
          <a:fillRef idx="0">
            <a:schemeClr val="accent1"/>
          </a:fillRef>
          <a:effectRef idx="0">
            <a:schemeClr val="accent1"/>
          </a:effectRef>
          <a:fontRef idx="minor">
            <a:schemeClr val="tx1"/>
          </a:fontRef>
        </p:style>
      </p:cxnSp>
      <p:sp>
        <p:nvSpPr>
          <p:cNvPr id="13" name="Textplatzhalter 5">
            <a:extLst>
              <a:ext uri="{FF2B5EF4-FFF2-40B4-BE49-F238E27FC236}">
                <a16:creationId xmlns:a16="http://schemas.microsoft.com/office/drawing/2014/main" id="{6B73DDB1-2066-4A3A-95F1-DABE0D56E66D}"/>
              </a:ext>
            </a:extLst>
          </p:cNvPr>
          <p:cNvSpPr txBox="1">
            <a:spLocks/>
          </p:cNvSpPr>
          <p:nvPr/>
        </p:nvSpPr>
        <p:spPr>
          <a:xfrm>
            <a:off x="3942161" y="2265644"/>
            <a:ext cx="1800000" cy="1723549"/>
          </a:xfrm>
          <a:prstGeom prst="rect">
            <a:avLst/>
          </a:prstGeom>
        </p:spPr>
        <p:txBody>
          <a:bodyPr vert="horz" wrap="square" lIns="0" tIns="0" rIns="0" bIns="0" rtlCol="0">
            <a:spAutoFit/>
          </a:bodyPr>
          <a:lstStyle>
            <a:lvl1pPr marL="0" indent="0" algn="l" defTabSz="914400" rtl="0" eaLnBrk="1" latinLnBrk="0" hangingPunct="1">
              <a:spcBef>
                <a:spcPts val="0"/>
              </a:spcBef>
              <a:spcAft>
                <a:spcPts val="0"/>
              </a:spcAft>
              <a:buFont typeface="Arial" pitchFamily="34" charset="0"/>
              <a:buNone/>
              <a:defRPr sz="1600" kern="1200">
                <a:solidFill>
                  <a:schemeClr val="tx1"/>
                </a:solidFill>
                <a:latin typeface="+mn-lt"/>
                <a:ea typeface="+mn-ea"/>
                <a:cs typeface="+mn-cs"/>
              </a:defRPr>
            </a:lvl1pPr>
            <a:lvl2pPr marL="144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2pPr>
            <a:lvl3pPr marL="288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3pPr>
            <a:lvl4pPr marL="432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4pPr>
            <a:lvl5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5pPr>
            <a:lvl6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6pPr>
            <a:lvl7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7pPr>
            <a:lvl8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8pPr>
            <a:lvl9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9pPr>
          </a:lstStyle>
          <a:p>
            <a:pPr marL="216000" indent="-216000">
              <a:buFont typeface="Wingdings" panose="05000000000000000000" pitchFamily="2" charset="2"/>
              <a:buChar char="§"/>
            </a:pPr>
            <a:r>
              <a:rPr lang="de-DE" sz="1400" dirty="0"/>
              <a:t>Durchführung Projekt-Reporting</a:t>
            </a:r>
          </a:p>
          <a:p>
            <a:pPr marL="216000" indent="-216000">
              <a:buFont typeface="Wingdings" panose="05000000000000000000" pitchFamily="2" charset="2"/>
              <a:buChar char="§"/>
            </a:pPr>
            <a:r>
              <a:rPr lang="de-DE" sz="1400" dirty="0"/>
              <a:t>Nachverfolgung Projektrisiken</a:t>
            </a:r>
          </a:p>
          <a:p>
            <a:pPr marL="216000" indent="-216000">
              <a:buFont typeface="Wingdings" panose="05000000000000000000" pitchFamily="2" charset="2"/>
              <a:buChar char="§"/>
            </a:pPr>
            <a:r>
              <a:rPr lang="de-DE" sz="1400" dirty="0"/>
              <a:t>Durchführung Steuerkreis (inkl. Vor- und Nachbereitung)</a:t>
            </a:r>
          </a:p>
        </p:txBody>
      </p:sp>
      <p:cxnSp>
        <p:nvCxnSpPr>
          <p:cNvPr id="19" name="Gerader Verbinder 18">
            <a:extLst>
              <a:ext uri="{FF2B5EF4-FFF2-40B4-BE49-F238E27FC236}">
                <a16:creationId xmlns:a16="http://schemas.microsoft.com/office/drawing/2014/main" id="{AA210E3D-8601-4A15-A168-FFD512173806}"/>
              </a:ext>
            </a:extLst>
          </p:cNvPr>
          <p:cNvCxnSpPr/>
          <p:nvPr/>
        </p:nvCxnSpPr>
        <p:spPr>
          <a:xfrm>
            <a:off x="3942162" y="4061599"/>
            <a:ext cx="1800000" cy="0"/>
          </a:xfrm>
          <a:prstGeom prst="line">
            <a:avLst/>
          </a:prstGeom>
          <a:ln w="12700" cap="rnd">
            <a:solidFill>
              <a:schemeClr val="tx1"/>
            </a:solidFill>
            <a:prstDash val="sysDash"/>
          </a:ln>
        </p:spPr>
        <p:style>
          <a:lnRef idx="1">
            <a:schemeClr val="accent1"/>
          </a:lnRef>
          <a:fillRef idx="0">
            <a:schemeClr val="accent1"/>
          </a:fillRef>
          <a:effectRef idx="0">
            <a:schemeClr val="accent1"/>
          </a:effectRef>
          <a:fontRef idx="minor">
            <a:schemeClr val="tx1"/>
          </a:fontRef>
        </p:style>
      </p:cxnSp>
      <p:sp>
        <p:nvSpPr>
          <p:cNvPr id="25" name="Textplatzhalter 5">
            <a:extLst>
              <a:ext uri="{FF2B5EF4-FFF2-40B4-BE49-F238E27FC236}">
                <a16:creationId xmlns:a16="http://schemas.microsoft.com/office/drawing/2014/main" id="{91446B96-94A7-4D02-930C-E0C259D5B228}"/>
              </a:ext>
            </a:extLst>
          </p:cNvPr>
          <p:cNvSpPr txBox="1">
            <a:spLocks/>
          </p:cNvSpPr>
          <p:nvPr/>
        </p:nvSpPr>
        <p:spPr>
          <a:xfrm>
            <a:off x="3942161" y="4161969"/>
            <a:ext cx="1800000" cy="1723549"/>
          </a:xfrm>
          <a:prstGeom prst="rect">
            <a:avLst/>
          </a:prstGeom>
        </p:spPr>
        <p:txBody>
          <a:bodyPr vert="horz" wrap="square" lIns="0" tIns="0" rIns="0" bIns="0" rtlCol="0">
            <a:spAutoFit/>
          </a:bodyPr>
          <a:lstStyle>
            <a:lvl1pPr marL="0" indent="0" algn="l" defTabSz="914400" rtl="0" eaLnBrk="1" latinLnBrk="0" hangingPunct="1">
              <a:spcBef>
                <a:spcPts val="0"/>
              </a:spcBef>
              <a:spcAft>
                <a:spcPts val="0"/>
              </a:spcAft>
              <a:buFont typeface="Arial" pitchFamily="34" charset="0"/>
              <a:buNone/>
              <a:defRPr sz="1600" kern="1200">
                <a:solidFill>
                  <a:schemeClr val="tx1"/>
                </a:solidFill>
                <a:latin typeface="+mn-lt"/>
                <a:ea typeface="+mn-ea"/>
                <a:cs typeface="+mn-cs"/>
              </a:defRPr>
            </a:lvl1pPr>
            <a:lvl2pPr marL="144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2pPr>
            <a:lvl3pPr marL="288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3pPr>
            <a:lvl4pPr marL="432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4pPr>
            <a:lvl5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5pPr>
            <a:lvl6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6pPr>
            <a:lvl7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7pPr>
            <a:lvl8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8pPr>
            <a:lvl9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9pPr>
          </a:lstStyle>
          <a:p>
            <a:pPr marL="216000" indent="-216000">
              <a:buFont typeface="Wingdings" panose="05000000000000000000" pitchFamily="2" charset="2"/>
              <a:buChar char="§"/>
            </a:pPr>
            <a:r>
              <a:rPr lang="de-DE" sz="1400" dirty="0"/>
              <a:t>Eskalation von Entscheidungen und Risiken an Projektleiter</a:t>
            </a:r>
          </a:p>
          <a:p>
            <a:pPr marL="216000" indent="-216000">
              <a:buFont typeface="Wingdings" panose="05000000000000000000" pitchFamily="2" charset="2"/>
              <a:buChar char="§"/>
            </a:pPr>
            <a:r>
              <a:rPr lang="de-DE" sz="1400" dirty="0"/>
              <a:t>Einhaltung des Projektplans</a:t>
            </a:r>
          </a:p>
          <a:p>
            <a:pPr marL="216000" indent="-216000">
              <a:buFont typeface="Wingdings" panose="05000000000000000000" pitchFamily="2" charset="2"/>
              <a:buChar char="§"/>
            </a:pPr>
            <a:r>
              <a:rPr lang="de-DE" sz="1400" dirty="0"/>
              <a:t>Überwachung Projektbudget</a:t>
            </a:r>
          </a:p>
        </p:txBody>
      </p:sp>
      <p:sp>
        <p:nvSpPr>
          <p:cNvPr id="31" name="Textplatzhalter 5">
            <a:extLst>
              <a:ext uri="{FF2B5EF4-FFF2-40B4-BE49-F238E27FC236}">
                <a16:creationId xmlns:a16="http://schemas.microsoft.com/office/drawing/2014/main" id="{689473DE-0C40-4D4F-9E70-AF73EB78813B}"/>
              </a:ext>
            </a:extLst>
          </p:cNvPr>
          <p:cNvSpPr txBox="1">
            <a:spLocks/>
          </p:cNvSpPr>
          <p:nvPr/>
        </p:nvSpPr>
        <p:spPr>
          <a:xfrm>
            <a:off x="3942161" y="1695568"/>
            <a:ext cx="1800000" cy="215444"/>
          </a:xfrm>
          <a:prstGeom prst="rect">
            <a:avLst/>
          </a:prstGeom>
        </p:spPr>
        <p:txBody>
          <a:bodyPr vert="horz" wrap="square" lIns="0" tIns="0" rIns="0" bIns="0" rtlCol="0">
            <a:spAutoFit/>
          </a:bodyPr>
          <a:lstStyle>
            <a:lvl1pPr marL="0" indent="0" algn="l" defTabSz="914400" rtl="0" eaLnBrk="1" latinLnBrk="0" hangingPunct="1">
              <a:spcBef>
                <a:spcPts val="0"/>
              </a:spcBef>
              <a:spcAft>
                <a:spcPts val="0"/>
              </a:spcAft>
              <a:buFont typeface="Arial" pitchFamily="34" charset="0"/>
              <a:buNone/>
              <a:defRPr sz="1600" kern="1200">
                <a:solidFill>
                  <a:schemeClr val="tx1"/>
                </a:solidFill>
                <a:latin typeface="+mn-lt"/>
                <a:ea typeface="+mn-ea"/>
                <a:cs typeface="+mn-cs"/>
              </a:defRPr>
            </a:lvl1pPr>
            <a:lvl2pPr marL="144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2pPr>
            <a:lvl3pPr marL="288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3pPr>
            <a:lvl4pPr marL="432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4pPr>
            <a:lvl5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5pPr>
            <a:lvl6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6pPr>
            <a:lvl7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7pPr>
            <a:lvl8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8pPr>
            <a:lvl9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9pPr>
          </a:lstStyle>
          <a:p>
            <a:r>
              <a:rPr lang="de-DE" sz="1400" dirty="0"/>
              <a:t>Chris Grohe (INC)</a:t>
            </a:r>
          </a:p>
        </p:txBody>
      </p:sp>
      <p:cxnSp>
        <p:nvCxnSpPr>
          <p:cNvPr id="38" name="Gerader Verbinder 37">
            <a:extLst>
              <a:ext uri="{FF2B5EF4-FFF2-40B4-BE49-F238E27FC236}">
                <a16:creationId xmlns:a16="http://schemas.microsoft.com/office/drawing/2014/main" id="{2B06A78E-04C9-42D1-A96E-3B8F63482527}"/>
              </a:ext>
            </a:extLst>
          </p:cNvPr>
          <p:cNvCxnSpPr/>
          <p:nvPr/>
        </p:nvCxnSpPr>
        <p:spPr>
          <a:xfrm>
            <a:off x="3942162" y="1595196"/>
            <a:ext cx="1800000" cy="0"/>
          </a:xfrm>
          <a:prstGeom prst="line">
            <a:avLst/>
          </a:prstGeom>
          <a:ln w="12700" cap="flat">
            <a:solidFill>
              <a:schemeClr val="tx1"/>
            </a:solidFill>
            <a:prstDash val="solid"/>
          </a:ln>
        </p:spPr>
        <p:style>
          <a:lnRef idx="1">
            <a:schemeClr val="accent1"/>
          </a:lnRef>
          <a:fillRef idx="0">
            <a:schemeClr val="accent1"/>
          </a:fillRef>
          <a:effectRef idx="0">
            <a:schemeClr val="accent1"/>
          </a:effectRef>
          <a:fontRef idx="minor">
            <a:schemeClr val="tx1"/>
          </a:fontRef>
        </p:style>
      </p:cxnSp>
      <p:sp>
        <p:nvSpPr>
          <p:cNvPr id="39" name="Textplatzhalter 5">
            <a:extLst>
              <a:ext uri="{FF2B5EF4-FFF2-40B4-BE49-F238E27FC236}">
                <a16:creationId xmlns:a16="http://schemas.microsoft.com/office/drawing/2014/main" id="{100895F7-35D4-42A3-BA8D-1E0FCBC79D12}"/>
              </a:ext>
            </a:extLst>
          </p:cNvPr>
          <p:cNvSpPr txBox="1">
            <a:spLocks/>
          </p:cNvSpPr>
          <p:nvPr/>
        </p:nvSpPr>
        <p:spPr>
          <a:xfrm>
            <a:off x="3942162" y="1351085"/>
            <a:ext cx="1800000" cy="215444"/>
          </a:xfrm>
          <a:prstGeom prst="rect">
            <a:avLst/>
          </a:prstGeom>
        </p:spPr>
        <p:txBody>
          <a:bodyPr vert="horz" wrap="square" lIns="0" tIns="0" rIns="0" bIns="0" rtlCol="0" anchor="b">
            <a:spAutoFit/>
          </a:bodyPr>
          <a:lstStyle>
            <a:lvl1pPr marL="0" indent="0" algn="l" defTabSz="914400" rtl="0" eaLnBrk="1" latinLnBrk="0" hangingPunct="1">
              <a:spcBef>
                <a:spcPts val="0"/>
              </a:spcBef>
              <a:spcAft>
                <a:spcPts val="0"/>
              </a:spcAft>
              <a:buFont typeface="Arial" pitchFamily="34" charset="0"/>
              <a:buNone/>
              <a:defRPr sz="1600" kern="1200">
                <a:solidFill>
                  <a:schemeClr val="tx1"/>
                </a:solidFill>
                <a:latin typeface="+mn-lt"/>
                <a:ea typeface="+mn-ea"/>
                <a:cs typeface="+mn-cs"/>
              </a:defRPr>
            </a:lvl1pPr>
            <a:lvl2pPr marL="144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2pPr>
            <a:lvl3pPr marL="288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3pPr>
            <a:lvl4pPr marL="432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4pPr>
            <a:lvl5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5pPr>
            <a:lvl6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6pPr>
            <a:lvl7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7pPr>
            <a:lvl8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8pPr>
            <a:lvl9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9pPr>
          </a:lstStyle>
          <a:p>
            <a:r>
              <a:rPr lang="de-DE" sz="1400" b="1" dirty="0"/>
              <a:t>PMO</a:t>
            </a:r>
          </a:p>
        </p:txBody>
      </p:sp>
      <p:cxnSp>
        <p:nvCxnSpPr>
          <p:cNvPr id="8" name="Gerader Verbinder 7">
            <a:extLst>
              <a:ext uri="{FF2B5EF4-FFF2-40B4-BE49-F238E27FC236}">
                <a16:creationId xmlns:a16="http://schemas.microsoft.com/office/drawing/2014/main" id="{E502F8DC-3EB2-4B4D-A40D-7A8061320263}"/>
              </a:ext>
            </a:extLst>
          </p:cNvPr>
          <p:cNvCxnSpPr/>
          <p:nvPr/>
        </p:nvCxnSpPr>
        <p:spPr>
          <a:xfrm>
            <a:off x="10054963" y="2165272"/>
            <a:ext cx="1800000" cy="0"/>
          </a:xfrm>
          <a:prstGeom prst="line">
            <a:avLst/>
          </a:prstGeom>
          <a:ln w="12700" cap="rnd">
            <a:solidFill>
              <a:schemeClr val="tx1"/>
            </a:solidFill>
            <a:prstDash val="sysDash"/>
          </a:ln>
        </p:spPr>
        <p:style>
          <a:lnRef idx="1">
            <a:schemeClr val="accent1"/>
          </a:lnRef>
          <a:fillRef idx="0">
            <a:schemeClr val="accent1"/>
          </a:fillRef>
          <a:effectRef idx="0">
            <a:schemeClr val="accent1"/>
          </a:effectRef>
          <a:fontRef idx="minor">
            <a:schemeClr val="tx1"/>
          </a:fontRef>
        </p:style>
      </p:cxnSp>
      <p:sp>
        <p:nvSpPr>
          <p:cNvPr id="14" name="Textplatzhalter 5">
            <a:extLst>
              <a:ext uri="{FF2B5EF4-FFF2-40B4-BE49-F238E27FC236}">
                <a16:creationId xmlns:a16="http://schemas.microsoft.com/office/drawing/2014/main" id="{CC7F3408-1F0D-4332-A29F-21E0FBFC00CC}"/>
              </a:ext>
            </a:extLst>
          </p:cNvPr>
          <p:cNvSpPr txBox="1">
            <a:spLocks/>
          </p:cNvSpPr>
          <p:nvPr/>
        </p:nvSpPr>
        <p:spPr>
          <a:xfrm>
            <a:off x="10054962" y="2265644"/>
            <a:ext cx="1800000" cy="1723549"/>
          </a:xfrm>
          <a:prstGeom prst="rect">
            <a:avLst/>
          </a:prstGeom>
        </p:spPr>
        <p:txBody>
          <a:bodyPr vert="horz" wrap="square" lIns="0" tIns="0" rIns="0" bIns="0" rtlCol="0">
            <a:spAutoFit/>
          </a:bodyPr>
          <a:lstStyle>
            <a:lvl1pPr marL="0" indent="0" algn="l" defTabSz="914400" rtl="0" eaLnBrk="1" latinLnBrk="0" hangingPunct="1">
              <a:spcBef>
                <a:spcPts val="0"/>
              </a:spcBef>
              <a:spcAft>
                <a:spcPts val="0"/>
              </a:spcAft>
              <a:buFont typeface="Arial" pitchFamily="34" charset="0"/>
              <a:buNone/>
              <a:defRPr sz="1600" kern="1200">
                <a:solidFill>
                  <a:schemeClr val="tx1"/>
                </a:solidFill>
                <a:latin typeface="+mn-lt"/>
                <a:ea typeface="+mn-ea"/>
                <a:cs typeface="+mn-cs"/>
              </a:defRPr>
            </a:lvl1pPr>
            <a:lvl2pPr marL="144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2pPr>
            <a:lvl3pPr marL="288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3pPr>
            <a:lvl4pPr marL="432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4pPr>
            <a:lvl5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5pPr>
            <a:lvl6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6pPr>
            <a:lvl7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7pPr>
            <a:lvl8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8pPr>
            <a:lvl9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9pPr>
          </a:lstStyle>
          <a:p>
            <a:pPr marL="216000" indent="-216000">
              <a:buFont typeface="Wingdings" panose="05000000000000000000" pitchFamily="2" charset="2"/>
              <a:buChar char="§"/>
            </a:pPr>
            <a:r>
              <a:rPr lang="de-DE" sz="1400" dirty="0"/>
              <a:t>Bearbeitung der Arbeitspakete (Analyse, Konzepte)</a:t>
            </a:r>
          </a:p>
          <a:p>
            <a:pPr marL="216000" indent="-216000">
              <a:buFont typeface="Wingdings" panose="05000000000000000000" pitchFamily="2" charset="2"/>
              <a:buChar char="§"/>
            </a:pPr>
            <a:r>
              <a:rPr lang="de-DE" sz="1400" dirty="0"/>
              <a:t>Durchführung von Workshops und Interviews</a:t>
            </a:r>
          </a:p>
          <a:p>
            <a:pPr marL="216000" indent="-216000">
              <a:buFont typeface="Wingdings" panose="05000000000000000000" pitchFamily="2" charset="2"/>
              <a:buChar char="§"/>
            </a:pPr>
            <a:r>
              <a:rPr lang="de-DE" sz="1400" dirty="0"/>
              <a:t>Abstimmung von Arbeitsergebnissen</a:t>
            </a:r>
          </a:p>
        </p:txBody>
      </p:sp>
      <p:cxnSp>
        <p:nvCxnSpPr>
          <p:cNvPr id="20" name="Gerader Verbinder 19">
            <a:extLst>
              <a:ext uri="{FF2B5EF4-FFF2-40B4-BE49-F238E27FC236}">
                <a16:creationId xmlns:a16="http://schemas.microsoft.com/office/drawing/2014/main" id="{785DA103-C204-4CBF-B5A4-82F8333E1F03}"/>
              </a:ext>
            </a:extLst>
          </p:cNvPr>
          <p:cNvCxnSpPr/>
          <p:nvPr/>
        </p:nvCxnSpPr>
        <p:spPr>
          <a:xfrm>
            <a:off x="10054963" y="4061599"/>
            <a:ext cx="1800000" cy="0"/>
          </a:xfrm>
          <a:prstGeom prst="line">
            <a:avLst/>
          </a:prstGeom>
          <a:ln w="12700" cap="rnd">
            <a:solidFill>
              <a:schemeClr val="tx1"/>
            </a:solidFill>
            <a:prstDash val="sysDash"/>
          </a:ln>
        </p:spPr>
        <p:style>
          <a:lnRef idx="1">
            <a:schemeClr val="accent1"/>
          </a:lnRef>
          <a:fillRef idx="0">
            <a:schemeClr val="accent1"/>
          </a:fillRef>
          <a:effectRef idx="0">
            <a:schemeClr val="accent1"/>
          </a:effectRef>
          <a:fontRef idx="minor">
            <a:schemeClr val="tx1"/>
          </a:fontRef>
        </p:style>
      </p:cxnSp>
      <p:sp>
        <p:nvSpPr>
          <p:cNvPr id="26" name="Textplatzhalter 5">
            <a:extLst>
              <a:ext uri="{FF2B5EF4-FFF2-40B4-BE49-F238E27FC236}">
                <a16:creationId xmlns:a16="http://schemas.microsoft.com/office/drawing/2014/main" id="{17EFD8FB-7576-4007-8585-B1B95444D882}"/>
              </a:ext>
            </a:extLst>
          </p:cNvPr>
          <p:cNvSpPr txBox="1">
            <a:spLocks/>
          </p:cNvSpPr>
          <p:nvPr/>
        </p:nvSpPr>
        <p:spPr>
          <a:xfrm>
            <a:off x="10054962" y="4161969"/>
            <a:ext cx="1800000" cy="1077218"/>
          </a:xfrm>
          <a:prstGeom prst="rect">
            <a:avLst/>
          </a:prstGeom>
        </p:spPr>
        <p:txBody>
          <a:bodyPr vert="horz" wrap="square" lIns="0" tIns="0" rIns="0" bIns="0" rtlCol="0">
            <a:spAutoFit/>
          </a:bodyPr>
          <a:lstStyle>
            <a:lvl1pPr marL="0" indent="0" algn="l" defTabSz="914400" rtl="0" eaLnBrk="1" latinLnBrk="0" hangingPunct="1">
              <a:spcBef>
                <a:spcPts val="0"/>
              </a:spcBef>
              <a:spcAft>
                <a:spcPts val="0"/>
              </a:spcAft>
              <a:buFont typeface="Arial" pitchFamily="34" charset="0"/>
              <a:buNone/>
              <a:defRPr sz="1600" kern="1200">
                <a:solidFill>
                  <a:schemeClr val="tx1"/>
                </a:solidFill>
                <a:latin typeface="+mn-lt"/>
                <a:ea typeface="+mn-ea"/>
                <a:cs typeface="+mn-cs"/>
              </a:defRPr>
            </a:lvl1pPr>
            <a:lvl2pPr marL="144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2pPr>
            <a:lvl3pPr marL="288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3pPr>
            <a:lvl4pPr marL="432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4pPr>
            <a:lvl5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5pPr>
            <a:lvl6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6pPr>
            <a:lvl7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7pPr>
            <a:lvl8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8pPr>
            <a:lvl9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9pPr>
          </a:lstStyle>
          <a:p>
            <a:pPr marL="216000" indent="-216000">
              <a:buFont typeface="Wingdings" panose="05000000000000000000" pitchFamily="2" charset="2"/>
              <a:buChar char="§"/>
            </a:pPr>
            <a:r>
              <a:rPr lang="de-DE" sz="1400" dirty="0"/>
              <a:t>Tiefes Verständnis erstellter Analysen und Konzepte</a:t>
            </a:r>
          </a:p>
          <a:p>
            <a:pPr marL="216000" indent="-216000">
              <a:buFont typeface="Wingdings" panose="05000000000000000000" pitchFamily="2" charset="2"/>
              <a:buChar char="§"/>
            </a:pPr>
            <a:r>
              <a:rPr lang="de-DE" sz="1400" dirty="0"/>
              <a:t>Abstimmung von Konzepten</a:t>
            </a:r>
          </a:p>
        </p:txBody>
      </p:sp>
      <p:sp>
        <p:nvSpPr>
          <p:cNvPr id="32" name="Textplatzhalter 5">
            <a:extLst>
              <a:ext uri="{FF2B5EF4-FFF2-40B4-BE49-F238E27FC236}">
                <a16:creationId xmlns:a16="http://schemas.microsoft.com/office/drawing/2014/main" id="{D0FCD157-68D3-498D-82A9-5F37549A361B}"/>
              </a:ext>
            </a:extLst>
          </p:cNvPr>
          <p:cNvSpPr txBox="1">
            <a:spLocks/>
          </p:cNvSpPr>
          <p:nvPr/>
        </p:nvSpPr>
        <p:spPr>
          <a:xfrm>
            <a:off x="10054962" y="1695568"/>
            <a:ext cx="1800000" cy="430887"/>
          </a:xfrm>
          <a:prstGeom prst="rect">
            <a:avLst/>
          </a:prstGeom>
        </p:spPr>
        <p:txBody>
          <a:bodyPr vert="horz" wrap="square" lIns="0" tIns="0" rIns="0" bIns="0" rtlCol="0">
            <a:spAutoFit/>
          </a:bodyPr>
          <a:lstStyle>
            <a:lvl1pPr marL="0" indent="0" algn="l" defTabSz="914400" rtl="0" eaLnBrk="1" latinLnBrk="0" hangingPunct="1">
              <a:spcBef>
                <a:spcPts val="0"/>
              </a:spcBef>
              <a:spcAft>
                <a:spcPts val="0"/>
              </a:spcAft>
              <a:buFont typeface="Arial" pitchFamily="34" charset="0"/>
              <a:buNone/>
              <a:defRPr sz="1600" kern="1200">
                <a:solidFill>
                  <a:schemeClr val="tx1"/>
                </a:solidFill>
                <a:latin typeface="+mn-lt"/>
                <a:ea typeface="+mn-ea"/>
                <a:cs typeface="+mn-cs"/>
              </a:defRPr>
            </a:lvl1pPr>
            <a:lvl2pPr marL="144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2pPr>
            <a:lvl3pPr marL="288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3pPr>
            <a:lvl4pPr marL="432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4pPr>
            <a:lvl5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5pPr>
            <a:lvl6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6pPr>
            <a:lvl7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7pPr>
            <a:lvl8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8pPr>
            <a:lvl9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9pPr>
          </a:lstStyle>
          <a:p>
            <a:r>
              <a:rPr lang="de-DE" sz="1400" dirty="0"/>
              <a:t>Gemäß Projektorganisation</a:t>
            </a:r>
          </a:p>
        </p:txBody>
      </p:sp>
      <p:cxnSp>
        <p:nvCxnSpPr>
          <p:cNvPr id="40" name="Gerader Verbinder 39">
            <a:extLst>
              <a:ext uri="{FF2B5EF4-FFF2-40B4-BE49-F238E27FC236}">
                <a16:creationId xmlns:a16="http://schemas.microsoft.com/office/drawing/2014/main" id="{55700AFF-6FCB-4E56-96D3-8FE42829FD01}"/>
              </a:ext>
            </a:extLst>
          </p:cNvPr>
          <p:cNvCxnSpPr/>
          <p:nvPr/>
        </p:nvCxnSpPr>
        <p:spPr>
          <a:xfrm>
            <a:off x="10054963" y="1595196"/>
            <a:ext cx="1800000" cy="0"/>
          </a:xfrm>
          <a:prstGeom prst="line">
            <a:avLst/>
          </a:prstGeom>
          <a:ln w="12700" cap="flat">
            <a:solidFill>
              <a:schemeClr val="tx1"/>
            </a:solidFill>
            <a:prstDash val="solid"/>
          </a:ln>
        </p:spPr>
        <p:style>
          <a:lnRef idx="1">
            <a:schemeClr val="accent1"/>
          </a:lnRef>
          <a:fillRef idx="0">
            <a:schemeClr val="accent1"/>
          </a:fillRef>
          <a:effectRef idx="0">
            <a:schemeClr val="accent1"/>
          </a:effectRef>
          <a:fontRef idx="minor">
            <a:schemeClr val="tx1"/>
          </a:fontRef>
        </p:style>
      </p:cxnSp>
      <p:sp>
        <p:nvSpPr>
          <p:cNvPr id="41" name="Textplatzhalter 5">
            <a:extLst>
              <a:ext uri="{FF2B5EF4-FFF2-40B4-BE49-F238E27FC236}">
                <a16:creationId xmlns:a16="http://schemas.microsoft.com/office/drawing/2014/main" id="{187B131B-17BD-4DFF-A9BD-C7156E18A12D}"/>
              </a:ext>
            </a:extLst>
          </p:cNvPr>
          <p:cNvSpPr txBox="1">
            <a:spLocks/>
          </p:cNvSpPr>
          <p:nvPr/>
        </p:nvSpPr>
        <p:spPr>
          <a:xfrm>
            <a:off x="10054963" y="1351085"/>
            <a:ext cx="1800000" cy="215444"/>
          </a:xfrm>
          <a:prstGeom prst="rect">
            <a:avLst/>
          </a:prstGeom>
        </p:spPr>
        <p:txBody>
          <a:bodyPr vert="horz" wrap="square" lIns="0" tIns="0" rIns="0" bIns="0" rtlCol="0" anchor="b">
            <a:spAutoFit/>
          </a:bodyPr>
          <a:lstStyle>
            <a:lvl1pPr marL="0" indent="0" algn="l" defTabSz="914400" rtl="0" eaLnBrk="1" latinLnBrk="0" hangingPunct="1">
              <a:spcBef>
                <a:spcPts val="0"/>
              </a:spcBef>
              <a:spcAft>
                <a:spcPts val="0"/>
              </a:spcAft>
              <a:buFont typeface="Arial" pitchFamily="34" charset="0"/>
              <a:buNone/>
              <a:defRPr sz="1600" kern="1200">
                <a:solidFill>
                  <a:schemeClr val="tx1"/>
                </a:solidFill>
                <a:latin typeface="+mn-lt"/>
                <a:ea typeface="+mn-ea"/>
                <a:cs typeface="+mn-cs"/>
              </a:defRPr>
            </a:lvl1pPr>
            <a:lvl2pPr marL="144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2pPr>
            <a:lvl3pPr marL="288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3pPr>
            <a:lvl4pPr marL="432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4pPr>
            <a:lvl5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5pPr>
            <a:lvl6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6pPr>
            <a:lvl7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7pPr>
            <a:lvl8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8pPr>
            <a:lvl9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9pPr>
          </a:lstStyle>
          <a:p>
            <a:r>
              <a:rPr lang="de-DE" sz="1400" b="1" dirty="0"/>
              <a:t>Projektmitarbeiter</a:t>
            </a:r>
          </a:p>
        </p:txBody>
      </p:sp>
      <p:cxnSp>
        <p:nvCxnSpPr>
          <p:cNvPr id="9" name="Gerader Verbinder 8">
            <a:extLst>
              <a:ext uri="{FF2B5EF4-FFF2-40B4-BE49-F238E27FC236}">
                <a16:creationId xmlns:a16="http://schemas.microsoft.com/office/drawing/2014/main" id="{0CE567DF-D429-4A22-B3F0-39AD8A95BE51}"/>
              </a:ext>
            </a:extLst>
          </p:cNvPr>
          <p:cNvCxnSpPr/>
          <p:nvPr/>
        </p:nvCxnSpPr>
        <p:spPr>
          <a:xfrm>
            <a:off x="8017362" y="2165272"/>
            <a:ext cx="1800000" cy="0"/>
          </a:xfrm>
          <a:prstGeom prst="line">
            <a:avLst/>
          </a:prstGeom>
          <a:ln w="12700" cap="rnd">
            <a:solidFill>
              <a:schemeClr val="tx1"/>
            </a:solidFill>
            <a:prstDash val="sysDash"/>
          </a:ln>
        </p:spPr>
        <p:style>
          <a:lnRef idx="1">
            <a:schemeClr val="accent1"/>
          </a:lnRef>
          <a:fillRef idx="0">
            <a:schemeClr val="accent1"/>
          </a:fillRef>
          <a:effectRef idx="0">
            <a:schemeClr val="accent1"/>
          </a:effectRef>
          <a:fontRef idx="minor">
            <a:schemeClr val="tx1"/>
          </a:fontRef>
        </p:style>
      </p:cxnSp>
      <p:sp>
        <p:nvSpPr>
          <p:cNvPr id="15" name="Textplatzhalter 5">
            <a:extLst>
              <a:ext uri="{FF2B5EF4-FFF2-40B4-BE49-F238E27FC236}">
                <a16:creationId xmlns:a16="http://schemas.microsoft.com/office/drawing/2014/main" id="{5E240199-E68D-46CE-A2FB-3A60E32A3E72}"/>
              </a:ext>
            </a:extLst>
          </p:cNvPr>
          <p:cNvSpPr txBox="1">
            <a:spLocks/>
          </p:cNvSpPr>
          <p:nvPr/>
        </p:nvSpPr>
        <p:spPr>
          <a:xfrm>
            <a:off x="8017361" y="2265644"/>
            <a:ext cx="1800000" cy="1723549"/>
          </a:xfrm>
          <a:prstGeom prst="rect">
            <a:avLst/>
          </a:prstGeom>
        </p:spPr>
        <p:txBody>
          <a:bodyPr vert="horz" wrap="square" lIns="0" tIns="0" rIns="0" bIns="0" rtlCol="0">
            <a:spAutoFit/>
          </a:bodyPr>
          <a:lstStyle>
            <a:lvl1pPr marL="0" indent="0" algn="l" defTabSz="914400" rtl="0" eaLnBrk="1" latinLnBrk="0" hangingPunct="1">
              <a:spcBef>
                <a:spcPts val="0"/>
              </a:spcBef>
              <a:spcAft>
                <a:spcPts val="0"/>
              </a:spcAft>
              <a:buFont typeface="Arial" pitchFamily="34" charset="0"/>
              <a:buNone/>
              <a:defRPr sz="1600" kern="1200">
                <a:solidFill>
                  <a:schemeClr val="tx1"/>
                </a:solidFill>
                <a:latin typeface="+mn-lt"/>
                <a:ea typeface="+mn-ea"/>
                <a:cs typeface="+mn-cs"/>
              </a:defRPr>
            </a:lvl1pPr>
            <a:lvl2pPr marL="144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2pPr>
            <a:lvl3pPr marL="288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3pPr>
            <a:lvl4pPr marL="432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4pPr>
            <a:lvl5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5pPr>
            <a:lvl6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6pPr>
            <a:lvl7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7pPr>
            <a:lvl8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8pPr>
            <a:lvl9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9pPr>
          </a:lstStyle>
          <a:p>
            <a:pPr marL="216000" indent="-216000">
              <a:buFont typeface="Wingdings" panose="05000000000000000000" pitchFamily="2" charset="2"/>
              <a:buChar char="§"/>
            </a:pPr>
            <a:r>
              <a:rPr lang="de-DE" sz="1400" dirty="0"/>
              <a:t>Coaching/ Sparring Projektmitarbeiter</a:t>
            </a:r>
          </a:p>
          <a:p>
            <a:pPr marL="216000" indent="-216000">
              <a:buFont typeface="Wingdings" panose="05000000000000000000" pitchFamily="2" charset="2"/>
              <a:buChar char="§"/>
            </a:pPr>
            <a:r>
              <a:rPr lang="de-DE" sz="1400" dirty="0"/>
              <a:t>Feedback zu Konzepten und Analysen</a:t>
            </a:r>
          </a:p>
          <a:p>
            <a:pPr marL="216000" indent="-216000">
              <a:buFont typeface="Wingdings" panose="05000000000000000000" pitchFamily="2" charset="2"/>
              <a:buChar char="§"/>
            </a:pPr>
            <a:r>
              <a:rPr lang="de-DE" sz="1400" dirty="0"/>
              <a:t>Information des Steuerkreises über Teilprojekt</a:t>
            </a:r>
          </a:p>
        </p:txBody>
      </p:sp>
      <p:cxnSp>
        <p:nvCxnSpPr>
          <p:cNvPr id="21" name="Gerader Verbinder 20">
            <a:extLst>
              <a:ext uri="{FF2B5EF4-FFF2-40B4-BE49-F238E27FC236}">
                <a16:creationId xmlns:a16="http://schemas.microsoft.com/office/drawing/2014/main" id="{98471789-DD7A-4934-A3D4-9378910C20D3}"/>
              </a:ext>
            </a:extLst>
          </p:cNvPr>
          <p:cNvCxnSpPr/>
          <p:nvPr/>
        </p:nvCxnSpPr>
        <p:spPr>
          <a:xfrm>
            <a:off x="8017362" y="4061599"/>
            <a:ext cx="1800000" cy="0"/>
          </a:xfrm>
          <a:prstGeom prst="line">
            <a:avLst/>
          </a:prstGeom>
          <a:ln w="12700" cap="rnd">
            <a:solidFill>
              <a:schemeClr val="tx1"/>
            </a:solidFill>
            <a:prstDash val="sysDash"/>
          </a:ln>
        </p:spPr>
        <p:style>
          <a:lnRef idx="1">
            <a:schemeClr val="accent1"/>
          </a:lnRef>
          <a:fillRef idx="0">
            <a:schemeClr val="accent1"/>
          </a:fillRef>
          <a:effectRef idx="0">
            <a:schemeClr val="accent1"/>
          </a:effectRef>
          <a:fontRef idx="minor">
            <a:schemeClr val="tx1"/>
          </a:fontRef>
        </p:style>
      </p:cxnSp>
      <p:sp>
        <p:nvSpPr>
          <p:cNvPr id="27" name="Textplatzhalter 5">
            <a:extLst>
              <a:ext uri="{FF2B5EF4-FFF2-40B4-BE49-F238E27FC236}">
                <a16:creationId xmlns:a16="http://schemas.microsoft.com/office/drawing/2014/main" id="{1C647731-A1FC-47C8-9927-B5ECF6D22EA8}"/>
              </a:ext>
            </a:extLst>
          </p:cNvPr>
          <p:cNvSpPr txBox="1">
            <a:spLocks/>
          </p:cNvSpPr>
          <p:nvPr/>
        </p:nvSpPr>
        <p:spPr>
          <a:xfrm>
            <a:off x="8017361" y="4161969"/>
            <a:ext cx="1800000" cy="1938992"/>
          </a:xfrm>
          <a:prstGeom prst="rect">
            <a:avLst/>
          </a:prstGeom>
        </p:spPr>
        <p:txBody>
          <a:bodyPr vert="horz" wrap="square" lIns="0" tIns="0" rIns="0" bIns="0" rtlCol="0">
            <a:spAutoFit/>
          </a:bodyPr>
          <a:lstStyle>
            <a:lvl1pPr marL="0" indent="0" algn="l" defTabSz="914400" rtl="0" eaLnBrk="1" latinLnBrk="0" hangingPunct="1">
              <a:spcBef>
                <a:spcPts val="0"/>
              </a:spcBef>
              <a:spcAft>
                <a:spcPts val="0"/>
              </a:spcAft>
              <a:buFont typeface="Arial" pitchFamily="34" charset="0"/>
              <a:buNone/>
              <a:defRPr sz="1600" kern="1200">
                <a:solidFill>
                  <a:schemeClr val="tx1"/>
                </a:solidFill>
                <a:latin typeface="+mn-lt"/>
                <a:ea typeface="+mn-ea"/>
                <a:cs typeface="+mn-cs"/>
              </a:defRPr>
            </a:lvl1pPr>
            <a:lvl2pPr marL="144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2pPr>
            <a:lvl3pPr marL="288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3pPr>
            <a:lvl4pPr marL="432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4pPr>
            <a:lvl5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5pPr>
            <a:lvl6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6pPr>
            <a:lvl7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7pPr>
            <a:lvl8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8pPr>
            <a:lvl9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9pPr>
          </a:lstStyle>
          <a:p>
            <a:pPr marL="216000" indent="-216000">
              <a:buFont typeface="Wingdings" panose="05000000000000000000" pitchFamily="2" charset="2"/>
              <a:buChar char="§"/>
            </a:pPr>
            <a:r>
              <a:rPr lang="de-DE" sz="1400" dirty="0"/>
              <a:t>Verantwortung Teilprojekt</a:t>
            </a:r>
          </a:p>
          <a:p>
            <a:pPr marL="216000" indent="-216000">
              <a:buFont typeface="Wingdings" panose="05000000000000000000" pitchFamily="2" charset="2"/>
              <a:buChar char="§"/>
            </a:pPr>
            <a:r>
              <a:rPr lang="de-DE" sz="1400" dirty="0"/>
              <a:t>Treffen von Teilprojekt-entscheidungen im Rahmen Projektumfang</a:t>
            </a:r>
          </a:p>
          <a:p>
            <a:pPr marL="216000" indent="-216000">
              <a:buFont typeface="Wingdings" panose="05000000000000000000" pitchFamily="2" charset="2"/>
              <a:buChar char="§"/>
            </a:pPr>
            <a:r>
              <a:rPr lang="de-DE" sz="1400" dirty="0"/>
              <a:t>Steuerung von Teilprojektzielen</a:t>
            </a:r>
          </a:p>
        </p:txBody>
      </p:sp>
      <p:sp>
        <p:nvSpPr>
          <p:cNvPr id="33" name="Textplatzhalter 5">
            <a:extLst>
              <a:ext uri="{FF2B5EF4-FFF2-40B4-BE49-F238E27FC236}">
                <a16:creationId xmlns:a16="http://schemas.microsoft.com/office/drawing/2014/main" id="{95ACF374-ADAD-455F-AD13-EBE66FD9AA76}"/>
              </a:ext>
            </a:extLst>
          </p:cNvPr>
          <p:cNvSpPr txBox="1">
            <a:spLocks/>
          </p:cNvSpPr>
          <p:nvPr/>
        </p:nvSpPr>
        <p:spPr>
          <a:xfrm>
            <a:off x="8017361" y="1695568"/>
            <a:ext cx="1800000" cy="430887"/>
          </a:xfrm>
          <a:prstGeom prst="rect">
            <a:avLst/>
          </a:prstGeom>
        </p:spPr>
        <p:txBody>
          <a:bodyPr vert="horz" wrap="square" lIns="0" tIns="0" rIns="0" bIns="0" rtlCol="0">
            <a:spAutoFit/>
          </a:bodyPr>
          <a:lstStyle>
            <a:lvl1pPr marL="0" indent="0" algn="l" defTabSz="914400" rtl="0" eaLnBrk="1" latinLnBrk="0" hangingPunct="1">
              <a:spcBef>
                <a:spcPts val="0"/>
              </a:spcBef>
              <a:spcAft>
                <a:spcPts val="0"/>
              </a:spcAft>
              <a:buFont typeface="Arial" pitchFamily="34" charset="0"/>
              <a:buNone/>
              <a:defRPr sz="1600" kern="1200">
                <a:solidFill>
                  <a:schemeClr val="tx1"/>
                </a:solidFill>
                <a:latin typeface="+mn-lt"/>
                <a:ea typeface="+mn-ea"/>
                <a:cs typeface="+mn-cs"/>
              </a:defRPr>
            </a:lvl1pPr>
            <a:lvl2pPr marL="144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2pPr>
            <a:lvl3pPr marL="288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3pPr>
            <a:lvl4pPr marL="432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4pPr>
            <a:lvl5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5pPr>
            <a:lvl6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6pPr>
            <a:lvl7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7pPr>
            <a:lvl8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8pPr>
            <a:lvl9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9pPr>
          </a:lstStyle>
          <a:p>
            <a:r>
              <a:rPr lang="de-DE" sz="1400" dirty="0"/>
              <a:t>Maike Hinsch (TG)</a:t>
            </a:r>
          </a:p>
          <a:p>
            <a:r>
              <a:rPr lang="de-DE" sz="1400" dirty="0"/>
              <a:t>Alexa Schmid (TG)</a:t>
            </a:r>
          </a:p>
        </p:txBody>
      </p:sp>
      <p:cxnSp>
        <p:nvCxnSpPr>
          <p:cNvPr id="42" name="Gerader Verbinder 41">
            <a:extLst>
              <a:ext uri="{FF2B5EF4-FFF2-40B4-BE49-F238E27FC236}">
                <a16:creationId xmlns:a16="http://schemas.microsoft.com/office/drawing/2014/main" id="{DDF335E4-E337-43A6-9997-DE015ED2F3CB}"/>
              </a:ext>
            </a:extLst>
          </p:cNvPr>
          <p:cNvCxnSpPr/>
          <p:nvPr/>
        </p:nvCxnSpPr>
        <p:spPr>
          <a:xfrm>
            <a:off x="8017362" y="1595196"/>
            <a:ext cx="1800000" cy="0"/>
          </a:xfrm>
          <a:prstGeom prst="line">
            <a:avLst/>
          </a:prstGeom>
          <a:ln w="12700" cap="flat">
            <a:solidFill>
              <a:schemeClr val="tx1"/>
            </a:solidFill>
            <a:prstDash val="solid"/>
          </a:ln>
        </p:spPr>
        <p:style>
          <a:lnRef idx="1">
            <a:schemeClr val="accent1"/>
          </a:lnRef>
          <a:fillRef idx="0">
            <a:schemeClr val="accent1"/>
          </a:fillRef>
          <a:effectRef idx="0">
            <a:schemeClr val="accent1"/>
          </a:effectRef>
          <a:fontRef idx="minor">
            <a:schemeClr val="tx1"/>
          </a:fontRef>
        </p:style>
      </p:cxnSp>
      <p:sp>
        <p:nvSpPr>
          <p:cNvPr id="43" name="Textplatzhalter 5">
            <a:extLst>
              <a:ext uri="{FF2B5EF4-FFF2-40B4-BE49-F238E27FC236}">
                <a16:creationId xmlns:a16="http://schemas.microsoft.com/office/drawing/2014/main" id="{2888DE59-C99E-4C31-98A2-C4033D1988E7}"/>
              </a:ext>
            </a:extLst>
          </p:cNvPr>
          <p:cNvSpPr txBox="1">
            <a:spLocks/>
          </p:cNvSpPr>
          <p:nvPr/>
        </p:nvSpPr>
        <p:spPr>
          <a:xfrm>
            <a:off x="8017362" y="1351085"/>
            <a:ext cx="1800000" cy="215444"/>
          </a:xfrm>
          <a:prstGeom prst="rect">
            <a:avLst/>
          </a:prstGeom>
        </p:spPr>
        <p:txBody>
          <a:bodyPr vert="horz" wrap="square" lIns="0" tIns="0" rIns="0" bIns="0" rtlCol="0" anchor="b">
            <a:spAutoFit/>
          </a:bodyPr>
          <a:lstStyle>
            <a:lvl1pPr marL="0" indent="0" algn="l" defTabSz="914400" rtl="0" eaLnBrk="1" latinLnBrk="0" hangingPunct="1">
              <a:spcBef>
                <a:spcPts val="0"/>
              </a:spcBef>
              <a:spcAft>
                <a:spcPts val="0"/>
              </a:spcAft>
              <a:buFont typeface="Arial" pitchFamily="34" charset="0"/>
              <a:buNone/>
              <a:defRPr sz="1600" kern="1200">
                <a:solidFill>
                  <a:schemeClr val="tx1"/>
                </a:solidFill>
                <a:latin typeface="+mn-lt"/>
                <a:ea typeface="+mn-ea"/>
                <a:cs typeface="+mn-cs"/>
              </a:defRPr>
            </a:lvl1pPr>
            <a:lvl2pPr marL="144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2pPr>
            <a:lvl3pPr marL="288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3pPr>
            <a:lvl4pPr marL="432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4pPr>
            <a:lvl5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5pPr>
            <a:lvl6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6pPr>
            <a:lvl7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7pPr>
            <a:lvl8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8pPr>
            <a:lvl9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9pPr>
          </a:lstStyle>
          <a:p>
            <a:r>
              <a:rPr lang="de-DE" sz="1400" b="1" dirty="0"/>
              <a:t>Teilprojektleiter</a:t>
            </a:r>
          </a:p>
        </p:txBody>
      </p:sp>
      <p:cxnSp>
        <p:nvCxnSpPr>
          <p:cNvPr id="5" name="Gerader Verbinder 4">
            <a:extLst>
              <a:ext uri="{FF2B5EF4-FFF2-40B4-BE49-F238E27FC236}">
                <a16:creationId xmlns:a16="http://schemas.microsoft.com/office/drawing/2014/main" id="{24810186-5EB5-4EC5-B90A-1F723244C188}"/>
              </a:ext>
            </a:extLst>
          </p:cNvPr>
          <p:cNvCxnSpPr/>
          <p:nvPr/>
        </p:nvCxnSpPr>
        <p:spPr>
          <a:xfrm>
            <a:off x="334962" y="2165272"/>
            <a:ext cx="1332000" cy="0"/>
          </a:xfrm>
          <a:prstGeom prst="line">
            <a:avLst/>
          </a:prstGeom>
          <a:ln w="12700" cap="rnd">
            <a:solidFill>
              <a:schemeClr val="tx1"/>
            </a:solidFill>
            <a:prstDash val="sysDash"/>
          </a:ln>
        </p:spPr>
        <p:style>
          <a:lnRef idx="1">
            <a:schemeClr val="accent1"/>
          </a:lnRef>
          <a:fillRef idx="0">
            <a:schemeClr val="accent1"/>
          </a:fillRef>
          <a:effectRef idx="0">
            <a:schemeClr val="accent1"/>
          </a:effectRef>
          <a:fontRef idx="minor">
            <a:schemeClr val="tx1"/>
          </a:fontRef>
        </p:style>
      </p:cxnSp>
      <p:sp>
        <p:nvSpPr>
          <p:cNvPr id="11" name="Textplatzhalter 5">
            <a:extLst>
              <a:ext uri="{FF2B5EF4-FFF2-40B4-BE49-F238E27FC236}">
                <a16:creationId xmlns:a16="http://schemas.microsoft.com/office/drawing/2014/main" id="{FFDF53E5-240B-4BBD-A18D-68BEA114263F}"/>
              </a:ext>
            </a:extLst>
          </p:cNvPr>
          <p:cNvSpPr txBox="1">
            <a:spLocks/>
          </p:cNvSpPr>
          <p:nvPr/>
        </p:nvSpPr>
        <p:spPr>
          <a:xfrm>
            <a:off x="334963" y="2265644"/>
            <a:ext cx="1229133" cy="215444"/>
          </a:xfrm>
          <a:prstGeom prst="rect">
            <a:avLst/>
          </a:prstGeom>
        </p:spPr>
        <p:txBody>
          <a:bodyPr vert="horz" wrap="square" lIns="0" tIns="0" rIns="0" bIns="0" rtlCol="0">
            <a:spAutoFit/>
          </a:bodyPr>
          <a:lstStyle>
            <a:lvl1pPr marL="0" indent="0" algn="l" defTabSz="914400" rtl="0" eaLnBrk="1" latinLnBrk="0" hangingPunct="1">
              <a:spcBef>
                <a:spcPts val="0"/>
              </a:spcBef>
              <a:spcAft>
                <a:spcPts val="0"/>
              </a:spcAft>
              <a:buFont typeface="Arial" pitchFamily="34" charset="0"/>
              <a:buNone/>
              <a:defRPr sz="1600" kern="1200">
                <a:solidFill>
                  <a:schemeClr val="tx1"/>
                </a:solidFill>
                <a:latin typeface="+mn-lt"/>
                <a:ea typeface="+mn-ea"/>
                <a:cs typeface="+mn-cs"/>
              </a:defRPr>
            </a:lvl1pPr>
            <a:lvl2pPr marL="144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2pPr>
            <a:lvl3pPr marL="288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3pPr>
            <a:lvl4pPr marL="432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4pPr>
            <a:lvl5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5pPr>
            <a:lvl6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6pPr>
            <a:lvl7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7pPr>
            <a:lvl8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8pPr>
            <a:lvl9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9pPr>
          </a:lstStyle>
          <a:p>
            <a:r>
              <a:rPr lang="de-DE" sz="1400" b="1" dirty="0"/>
              <a:t>Aufgaben</a:t>
            </a:r>
          </a:p>
        </p:txBody>
      </p:sp>
      <p:cxnSp>
        <p:nvCxnSpPr>
          <p:cNvPr id="17" name="Gerader Verbinder 16">
            <a:extLst>
              <a:ext uri="{FF2B5EF4-FFF2-40B4-BE49-F238E27FC236}">
                <a16:creationId xmlns:a16="http://schemas.microsoft.com/office/drawing/2014/main" id="{28A0CB08-88D8-4B6E-AE0F-BC91F6DED8CD}"/>
              </a:ext>
            </a:extLst>
          </p:cNvPr>
          <p:cNvCxnSpPr/>
          <p:nvPr/>
        </p:nvCxnSpPr>
        <p:spPr>
          <a:xfrm>
            <a:off x="334962" y="4061599"/>
            <a:ext cx="1332000" cy="0"/>
          </a:xfrm>
          <a:prstGeom prst="line">
            <a:avLst/>
          </a:prstGeom>
          <a:ln w="12700" cap="rnd">
            <a:solidFill>
              <a:schemeClr val="tx1"/>
            </a:solidFill>
            <a:prstDash val="sysDash"/>
          </a:ln>
        </p:spPr>
        <p:style>
          <a:lnRef idx="1">
            <a:schemeClr val="accent1"/>
          </a:lnRef>
          <a:fillRef idx="0">
            <a:schemeClr val="accent1"/>
          </a:fillRef>
          <a:effectRef idx="0">
            <a:schemeClr val="accent1"/>
          </a:effectRef>
          <a:fontRef idx="minor">
            <a:schemeClr val="tx1"/>
          </a:fontRef>
        </p:style>
      </p:cxnSp>
      <p:sp>
        <p:nvSpPr>
          <p:cNvPr id="23" name="Textplatzhalter 5">
            <a:extLst>
              <a:ext uri="{FF2B5EF4-FFF2-40B4-BE49-F238E27FC236}">
                <a16:creationId xmlns:a16="http://schemas.microsoft.com/office/drawing/2014/main" id="{B06E75AC-6E6E-4B9F-849A-4F8422C00627}"/>
              </a:ext>
            </a:extLst>
          </p:cNvPr>
          <p:cNvSpPr txBox="1">
            <a:spLocks/>
          </p:cNvSpPr>
          <p:nvPr/>
        </p:nvSpPr>
        <p:spPr>
          <a:xfrm>
            <a:off x="334962" y="4161969"/>
            <a:ext cx="1332000" cy="215444"/>
          </a:xfrm>
          <a:prstGeom prst="rect">
            <a:avLst/>
          </a:prstGeom>
        </p:spPr>
        <p:txBody>
          <a:bodyPr vert="horz" wrap="square" lIns="0" tIns="0" rIns="0" bIns="0" rtlCol="0">
            <a:spAutoFit/>
          </a:bodyPr>
          <a:lstStyle>
            <a:lvl1pPr marL="0" indent="0" algn="l" defTabSz="914400" rtl="0" eaLnBrk="1" latinLnBrk="0" hangingPunct="1">
              <a:spcBef>
                <a:spcPts val="0"/>
              </a:spcBef>
              <a:spcAft>
                <a:spcPts val="0"/>
              </a:spcAft>
              <a:buFont typeface="Arial" pitchFamily="34" charset="0"/>
              <a:buNone/>
              <a:defRPr sz="1600" kern="1200">
                <a:solidFill>
                  <a:schemeClr val="tx1"/>
                </a:solidFill>
                <a:latin typeface="+mn-lt"/>
                <a:ea typeface="+mn-ea"/>
                <a:cs typeface="+mn-cs"/>
              </a:defRPr>
            </a:lvl1pPr>
            <a:lvl2pPr marL="144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2pPr>
            <a:lvl3pPr marL="288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3pPr>
            <a:lvl4pPr marL="432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4pPr>
            <a:lvl5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5pPr>
            <a:lvl6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6pPr>
            <a:lvl7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7pPr>
            <a:lvl8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8pPr>
            <a:lvl9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9pPr>
          </a:lstStyle>
          <a:p>
            <a:r>
              <a:rPr lang="de-DE" sz="1400" b="1" dirty="0"/>
              <a:t>Verantwortung</a:t>
            </a:r>
          </a:p>
        </p:txBody>
      </p:sp>
      <p:sp>
        <p:nvSpPr>
          <p:cNvPr id="29" name="Textplatzhalter 5">
            <a:extLst>
              <a:ext uri="{FF2B5EF4-FFF2-40B4-BE49-F238E27FC236}">
                <a16:creationId xmlns:a16="http://schemas.microsoft.com/office/drawing/2014/main" id="{634CF29F-DF29-4B18-887A-8D2AA002A02E}"/>
              </a:ext>
            </a:extLst>
          </p:cNvPr>
          <p:cNvSpPr txBox="1">
            <a:spLocks/>
          </p:cNvSpPr>
          <p:nvPr/>
        </p:nvSpPr>
        <p:spPr>
          <a:xfrm>
            <a:off x="334963" y="1695568"/>
            <a:ext cx="1229133" cy="215444"/>
          </a:xfrm>
          <a:prstGeom prst="rect">
            <a:avLst/>
          </a:prstGeom>
        </p:spPr>
        <p:txBody>
          <a:bodyPr vert="horz" wrap="square" lIns="0" tIns="0" rIns="0" bIns="0" rtlCol="0">
            <a:spAutoFit/>
          </a:bodyPr>
          <a:lstStyle>
            <a:lvl1pPr marL="0" indent="0" algn="l" defTabSz="914400" rtl="0" eaLnBrk="1" latinLnBrk="0" hangingPunct="1">
              <a:spcBef>
                <a:spcPts val="0"/>
              </a:spcBef>
              <a:spcAft>
                <a:spcPts val="0"/>
              </a:spcAft>
              <a:buFont typeface="Arial" pitchFamily="34" charset="0"/>
              <a:buNone/>
              <a:defRPr sz="1600" kern="1200">
                <a:solidFill>
                  <a:schemeClr val="tx1"/>
                </a:solidFill>
                <a:latin typeface="+mn-lt"/>
                <a:ea typeface="+mn-ea"/>
                <a:cs typeface="+mn-cs"/>
              </a:defRPr>
            </a:lvl1pPr>
            <a:lvl2pPr marL="144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2pPr>
            <a:lvl3pPr marL="288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3pPr>
            <a:lvl4pPr marL="432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4pPr>
            <a:lvl5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5pPr>
            <a:lvl6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6pPr>
            <a:lvl7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7pPr>
            <a:lvl8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8pPr>
            <a:lvl9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9pPr>
          </a:lstStyle>
          <a:p>
            <a:r>
              <a:rPr lang="de-DE" sz="1400" b="1" dirty="0"/>
              <a:t>Person</a:t>
            </a:r>
          </a:p>
        </p:txBody>
      </p:sp>
      <p:cxnSp>
        <p:nvCxnSpPr>
          <p:cNvPr id="35" name="Gerader Verbinder 34">
            <a:extLst>
              <a:ext uri="{FF2B5EF4-FFF2-40B4-BE49-F238E27FC236}">
                <a16:creationId xmlns:a16="http://schemas.microsoft.com/office/drawing/2014/main" id="{FA29661A-2C62-4E12-880B-E4CCE7F20216}"/>
              </a:ext>
            </a:extLst>
          </p:cNvPr>
          <p:cNvCxnSpPr>
            <a:cxnSpLocks/>
          </p:cNvCxnSpPr>
          <p:nvPr/>
        </p:nvCxnSpPr>
        <p:spPr>
          <a:xfrm>
            <a:off x="334962" y="1595196"/>
            <a:ext cx="13320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44" name="Textplatzhalter 5">
            <a:extLst>
              <a:ext uri="{FF2B5EF4-FFF2-40B4-BE49-F238E27FC236}">
                <a16:creationId xmlns:a16="http://schemas.microsoft.com/office/drawing/2014/main" id="{1704750D-AE15-427C-9A77-C4CF3C47F9AB}"/>
              </a:ext>
            </a:extLst>
          </p:cNvPr>
          <p:cNvSpPr txBox="1">
            <a:spLocks/>
          </p:cNvSpPr>
          <p:nvPr/>
        </p:nvSpPr>
        <p:spPr>
          <a:xfrm>
            <a:off x="334963" y="1351085"/>
            <a:ext cx="1229133" cy="215444"/>
          </a:xfrm>
          <a:prstGeom prst="rect">
            <a:avLst/>
          </a:prstGeom>
        </p:spPr>
        <p:txBody>
          <a:bodyPr vert="horz" wrap="square" lIns="0" tIns="0" rIns="0" bIns="0" rtlCol="0" anchor="b">
            <a:spAutoFit/>
          </a:bodyPr>
          <a:lstStyle>
            <a:lvl1pPr marL="0" indent="0" algn="l" defTabSz="914400" rtl="0" eaLnBrk="1" latinLnBrk="0" hangingPunct="1">
              <a:spcBef>
                <a:spcPts val="0"/>
              </a:spcBef>
              <a:spcAft>
                <a:spcPts val="0"/>
              </a:spcAft>
              <a:buFont typeface="Arial" pitchFamily="34" charset="0"/>
              <a:buNone/>
              <a:defRPr sz="1600" kern="1200">
                <a:solidFill>
                  <a:schemeClr val="tx1"/>
                </a:solidFill>
                <a:latin typeface="+mn-lt"/>
                <a:ea typeface="+mn-ea"/>
                <a:cs typeface="+mn-cs"/>
              </a:defRPr>
            </a:lvl1pPr>
            <a:lvl2pPr marL="144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2pPr>
            <a:lvl3pPr marL="288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3pPr>
            <a:lvl4pPr marL="432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4pPr>
            <a:lvl5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5pPr>
            <a:lvl6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6pPr>
            <a:lvl7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7pPr>
            <a:lvl8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8pPr>
            <a:lvl9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9pPr>
          </a:lstStyle>
          <a:p>
            <a:r>
              <a:rPr lang="de-DE" sz="1400" b="1" dirty="0"/>
              <a:t>Rolle</a:t>
            </a:r>
          </a:p>
        </p:txBody>
      </p:sp>
      <p:cxnSp>
        <p:nvCxnSpPr>
          <p:cNvPr id="61" name="Gerader Verbinder 60">
            <a:extLst>
              <a:ext uri="{FF2B5EF4-FFF2-40B4-BE49-F238E27FC236}">
                <a16:creationId xmlns:a16="http://schemas.microsoft.com/office/drawing/2014/main" id="{63D72001-80CE-428D-8ADA-334A04982E61}"/>
              </a:ext>
            </a:extLst>
          </p:cNvPr>
          <p:cNvCxnSpPr/>
          <p:nvPr/>
        </p:nvCxnSpPr>
        <p:spPr>
          <a:xfrm>
            <a:off x="5979762" y="2165272"/>
            <a:ext cx="1800000" cy="0"/>
          </a:xfrm>
          <a:prstGeom prst="line">
            <a:avLst/>
          </a:prstGeom>
          <a:ln w="12700" cap="rnd">
            <a:solidFill>
              <a:schemeClr val="tx1"/>
            </a:solidFill>
            <a:prstDash val="sysDash"/>
          </a:ln>
        </p:spPr>
        <p:style>
          <a:lnRef idx="1">
            <a:schemeClr val="accent1"/>
          </a:lnRef>
          <a:fillRef idx="0">
            <a:schemeClr val="accent1"/>
          </a:fillRef>
          <a:effectRef idx="0">
            <a:schemeClr val="accent1"/>
          </a:effectRef>
          <a:fontRef idx="minor">
            <a:schemeClr val="tx1"/>
          </a:fontRef>
        </p:style>
      </p:cxnSp>
      <p:sp>
        <p:nvSpPr>
          <p:cNvPr id="62" name="Textplatzhalter 5">
            <a:extLst>
              <a:ext uri="{FF2B5EF4-FFF2-40B4-BE49-F238E27FC236}">
                <a16:creationId xmlns:a16="http://schemas.microsoft.com/office/drawing/2014/main" id="{ADAC8C19-5852-44E9-8208-B4AD64521505}"/>
              </a:ext>
            </a:extLst>
          </p:cNvPr>
          <p:cNvSpPr txBox="1">
            <a:spLocks/>
          </p:cNvSpPr>
          <p:nvPr/>
        </p:nvSpPr>
        <p:spPr>
          <a:xfrm>
            <a:off x="5979761" y="2265644"/>
            <a:ext cx="1800000" cy="1723549"/>
          </a:xfrm>
          <a:prstGeom prst="rect">
            <a:avLst/>
          </a:prstGeom>
        </p:spPr>
        <p:txBody>
          <a:bodyPr vert="horz" wrap="square" lIns="0" tIns="0" rIns="0" bIns="0" rtlCol="0">
            <a:spAutoFit/>
          </a:bodyPr>
          <a:lstStyle>
            <a:lvl1pPr marL="0" indent="0" algn="l" defTabSz="914400" rtl="0" eaLnBrk="1" latinLnBrk="0" hangingPunct="1">
              <a:spcBef>
                <a:spcPts val="0"/>
              </a:spcBef>
              <a:spcAft>
                <a:spcPts val="0"/>
              </a:spcAft>
              <a:buFont typeface="Arial" pitchFamily="34" charset="0"/>
              <a:buNone/>
              <a:defRPr sz="1600" kern="1200">
                <a:solidFill>
                  <a:schemeClr val="tx1"/>
                </a:solidFill>
                <a:latin typeface="+mn-lt"/>
                <a:ea typeface="+mn-ea"/>
                <a:cs typeface="+mn-cs"/>
              </a:defRPr>
            </a:lvl1pPr>
            <a:lvl2pPr marL="144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2pPr>
            <a:lvl3pPr marL="288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3pPr>
            <a:lvl4pPr marL="432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4pPr>
            <a:lvl5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5pPr>
            <a:lvl6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6pPr>
            <a:lvl7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7pPr>
            <a:lvl8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8pPr>
            <a:lvl9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9pPr>
          </a:lstStyle>
          <a:p>
            <a:pPr marL="216000" indent="-216000">
              <a:buFont typeface="Wingdings" panose="05000000000000000000" pitchFamily="2" charset="2"/>
              <a:buChar char="§"/>
            </a:pPr>
            <a:r>
              <a:rPr lang="de-DE" sz="1400" dirty="0"/>
              <a:t>Planung und Durchführung von Kommunikations- und Change-Maßnahmen</a:t>
            </a:r>
          </a:p>
          <a:p>
            <a:pPr marL="216000" indent="-216000">
              <a:buFont typeface="Wingdings" panose="05000000000000000000" pitchFamily="2" charset="2"/>
              <a:buChar char="§"/>
            </a:pPr>
            <a:r>
              <a:rPr lang="de-DE" sz="1400" dirty="0"/>
              <a:t>Sparring der Projektleitung bzgl. C&amp;C</a:t>
            </a:r>
          </a:p>
        </p:txBody>
      </p:sp>
      <p:cxnSp>
        <p:nvCxnSpPr>
          <p:cNvPr id="63" name="Gerader Verbinder 62">
            <a:extLst>
              <a:ext uri="{FF2B5EF4-FFF2-40B4-BE49-F238E27FC236}">
                <a16:creationId xmlns:a16="http://schemas.microsoft.com/office/drawing/2014/main" id="{813F859D-BB88-4A23-984A-84AFA94C2FAF}"/>
              </a:ext>
            </a:extLst>
          </p:cNvPr>
          <p:cNvCxnSpPr/>
          <p:nvPr/>
        </p:nvCxnSpPr>
        <p:spPr>
          <a:xfrm>
            <a:off x="5979762" y="4061599"/>
            <a:ext cx="1800000" cy="0"/>
          </a:xfrm>
          <a:prstGeom prst="line">
            <a:avLst/>
          </a:prstGeom>
          <a:ln w="12700" cap="rnd">
            <a:solidFill>
              <a:schemeClr val="tx1"/>
            </a:solidFill>
            <a:prstDash val="sysDash"/>
          </a:ln>
        </p:spPr>
        <p:style>
          <a:lnRef idx="1">
            <a:schemeClr val="accent1"/>
          </a:lnRef>
          <a:fillRef idx="0">
            <a:schemeClr val="accent1"/>
          </a:fillRef>
          <a:effectRef idx="0">
            <a:schemeClr val="accent1"/>
          </a:effectRef>
          <a:fontRef idx="minor">
            <a:schemeClr val="tx1"/>
          </a:fontRef>
        </p:style>
      </p:cxnSp>
      <p:sp>
        <p:nvSpPr>
          <p:cNvPr id="64" name="Textplatzhalter 5">
            <a:extLst>
              <a:ext uri="{FF2B5EF4-FFF2-40B4-BE49-F238E27FC236}">
                <a16:creationId xmlns:a16="http://schemas.microsoft.com/office/drawing/2014/main" id="{7F789656-93BF-4372-A78E-51092AC1F313}"/>
              </a:ext>
            </a:extLst>
          </p:cNvPr>
          <p:cNvSpPr txBox="1">
            <a:spLocks/>
          </p:cNvSpPr>
          <p:nvPr/>
        </p:nvSpPr>
        <p:spPr>
          <a:xfrm>
            <a:off x="5979761" y="4161969"/>
            <a:ext cx="1800000" cy="1077218"/>
          </a:xfrm>
          <a:prstGeom prst="rect">
            <a:avLst/>
          </a:prstGeom>
        </p:spPr>
        <p:txBody>
          <a:bodyPr vert="horz" wrap="square" lIns="0" tIns="0" rIns="0" bIns="0" rtlCol="0">
            <a:spAutoFit/>
          </a:bodyPr>
          <a:lstStyle>
            <a:lvl1pPr marL="0" indent="0" algn="l" defTabSz="914400" rtl="0" eaLnBrk="1" latinLnBrk="0" hangingPunct="1">
              <a:spcBef>
                <a:spcPts val="0"/>
              </a:spcBef>
              <a:spcAft>
                <a:spcPts val="0"/>
              </a:spcAft>
              <a:buFont typeface="Arial" pitchFamily="34" charset="0"/>
              <a:buNone/>
              <a:defRPr sz="1600" kern="1200">
                <a:solidFill>
                  <a:schemeClr val="tx1"/>
                </a:solidFill>
                <a:latin typeface="+mn-lt"/>
                <a:ea typeface="+mn-ea"/>
                <a:cs typeface="+mn-cs"/>
              </a:defRPr>
            </a:lvl1pPr>
            <a:lvl2pPr marL="144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2pPr>
            <a:lvl3pPr marL="288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3pPr>
            <a:lvl4pPr marL="432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4pPr>
            <a:lvl5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5pPr>
            <a:lvl6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6pPr>
            <a:lvl7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7pPr>
            <a:lvl8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8pPr>
            <a:lvl9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9pPr>
          </a:lstStyle>
          <a:p>
            <a:pPr marL="216000" indent="-216000">
              <a:buFont typeface="Wingdings" panose="05000000000000000000" pitchFamily="2" charset="2"/>
              <a:buChar char="§"/>
            </a:pPr>
            <a:r>
              <a:rPr lang="de-DE" sz="1400" dirty="0"/>
              <a:t>Verantwortung der Kommunikations-strategie und der Change-Maßnahmen</a:t>
            </a:r>
          </a:p>
        </p:txBody>
      </p:sp>
      <p:sp>
        <p:nvSpPr>
          <p:cNvPr id="65" name="Textplatzhalter 5">
            <a:extLst>
              <a:ext uri="{FF2B5EF4-FFF2-40B4-BE49-F238E27FC236}">
                <a16:creationId xmlns:a16="http://schemas.microsoft.com/office/drawing/2014/main" id="{11DFD74B-B28E-42D7-9CF8-F3A1B4C19EDC}"/>
              </a:ext>
            </a:extLst>
          </p:cNvPr>
          <p:cNvSpPr txBox="1">
            <a:spLocks/>
          </p:cNvSpPr>
          <p:nvPr/>
        </p:nvSpPr>
        <p:spPr>
          <a:xfrm>
            <a:off x="5979761" y="1695568"/>
            <a:ext cx="1800000" cy="215444"/>
          </a:xfrm>
          <a:prstGeom prst="rect">
            <a:avLst/>
          </a:prstGeom>
        </p:spPr>
        <p:txBody>
          <a:bodyPr vert="horz" wrap="square" lIns="0" tIns="0" rIns="0" bIns="0" rtlCol="0">
            <a:spAutoFit/>
          </a:bodyPr>
          <a:lstStyle>
            <a:lvl1pPr marL="0" indent="0" algn="l" defTabSz="914400" rtl="0" eaLnBrk="1" latinLnBrk="0" hangingPunct="1">
              <a:spcBef>
                <a:spcPts val="0"/>
              </a:spcBef>
              <a:spcAft>
                <a:spcPts val="0"/>
              </a:spcAft>
              <a:buFont typeface="Arial" pitchFamily="34" charset="0"/>
              <a:buNone/>
              <a:defRPr sz="1600" kern="1200">
                <a:solidFill>
                  <a:schemeClr val="tx1"/>
                </a:solidFill>
                <a:latin typeface="+mn-lt"/>
                <a:ea typeface="+mn-ea"/>
                <a:cs typeface="+mn-cs"/>
              </a:defRPr>
            </a:lvl1pPr>
            <a:lvl2pPr marL="144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2pPr>
            <a:lvl3pPr marL="288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3pPr>
            <a:lvl4pPr marL="432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4pPr>
            <a:lvl5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5pPr>
            <a:lvl6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6pPr>
            <a:lvl7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7pPr>
            <a:lvl8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8pPr>
            <a:lvl9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9pPr>
          </a:lstStyle>
          <a:p>
            <a:r>
              <a:rPr lang="de-DE" sz="1400" dirty="0"/>
              <a:t>Tobias Schmied (CC)</a:t>
            </a:r>
          </a:p>
        </p:txBody>
      </p:sp>
      <p:cxnSp>
        <p:nvCxnSpPr>
          <p:cNvPr id="66" name="Gerader Verbinder 65">
            <a:extLst>
              <a:ext uri="{FF2B5EF4-FFF2-40B4-BE49-F238E27FC236}">
                <a16:creationId xmlns:a16="http://schemas.microsoft.com/office/drawing/2014/main" id="{5FDEFA49-4A07-44DE-8D0C-EB36C0D57718}"/>
              </a:ext>
            </a:extLst>
          </p:cNvPr>
          <p:cNvCxnSpPr/>
          <p:nvPr/>
        </p:nvCxnSpPr>
        <p:spPr>
          <a:xfrm>
            <a:off x="5979762" y="1595196"/>
            <a:ext cx="1800000" cy="0"/>
          </a:xfrm>
          <a:prstGeom prst="line">
            <a:avLst/>
          </a:prstGeom>
          <a:ln w="12700" cap="flat">
            <a:solidFill>
              <a:schemeClr val="tx1"/>
            </a:solidFill>
            <a:prstDash val="solid"/>
          </a:ln>
        </p:spPr>
        <p:style>
          <a:lnRef idx="1">
            <a:schemeClr val="accent1"/>
          </a:lnRef>
          <a:fillRef idx="0">
            <a:schemeClr val="accent1"/>
          </a:fillRef>
          <a:effectRef idx="0">
            <a:schemeClr val="accent1"/>
          </a:effectRef>
          <a:fontRef idx="minor">
            <a:schemeClr val="tx1"/>
          </a:fontRef>
        </p:style>
      </p:cxnSp>
      <p:sp>
        <p:nvSpPr>
          <p:cNvPr id="67" name="Textplatzhalter 5">
            <a:extLst>
              <a:ext uri="{FF2B5EF4-FFF2-40B4-BE49-F238E27FC236}">
                <a16:creationId xmlns:a16="http://schemas.microsoft.com/office/drawing/2014/main" id="{2B990967-DF2E-4E70-BB61-060D611528E0}"/>
              </a:ext>
            </a:extLst>
          </p:cNvPr>
          <p:cNvSpPr txBox="1">
            <a:spLocks/>
          </p:cNvSpPr>
          <p:nvPr/>
        </p:nvSpPr>
        <p:spPr>
          <a:xfrm>
            <a:off x="5979762" y="1135642"/>
            <a:ext cx="1800000" cy="430887"/>
          </a:xfrm>
          <a:prstGeom prst="rect">
            <a:avLst/>
          </a:prstGeom>
        </p:spPr>
        <p:txBody>
          <a:bodyPr vert="horz" wrap="square" lIns="0" tIns="0" rIns="0" bIns="0" rtlCol="0" anchor="b">
            <a:spAutoFit/>
          </a:bodyPr>
          <a:lstStyle>
            <a:lvl1pPr marL="0" indent="0" algn="l" defTabSz="914400" rtl="0" eaLnBrk="1" latinLnBrk="0" hangingPunct="1">
              <a:spcBef>
                <a:spcPts val="0"/>
              </a:spcBef>
              <a:spcAft>
                <a:spcPts val="0"/>
              </a:spcAft>
              <a:buFont typeface="Arial" pitchFamily="34" charset="0"/>
              <a:buNone/>
              <a:defRPr sz="1600" kern="1200">
                <a:solidFill>
                  <a:schemeClr val="tx1"/>
                </a:solidFill>
                <a:latin typeface="+mn-lt"/>
                <a:ea typeface="+mn-ea"/>
                <a:cs typeface="+mn-cs"/>
              </a:defRPr>
            </a:lvl1pPr>
            <a:lvl2pPr marL="144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2pPr>
            <a:lvl3pPr marL="288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3pPr>
            <a:lvl4pPr marL="432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4pPr>
            <a:lvl5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5pPr>
            <a:lvl6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6pPr>
            <a:lvl7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7pPr>
            <a:lvl8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8pPr>
            <a:lvl9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9pPr>
          </a:lstStyle>
          <a:p>
            <a:r>
              <a:rPr lang="de-DE" sz="1400" b="1" dirty="0"/>
              <a:t>Communication &amp; Change (C&amp;C)</a:t>
            </a:r>
          </a:p>
        </p:txBody>
      </p:sp>
      <p:sp>
        <p:nvSpPr>
          <p:cNvPr id="49" name="Rechteck 48">
            <a:extLst>
              <a:ext uri="{FF2B5EF4-FFF2-40B4-BE49-F238E27FC236}">
                <a16:creationId xmlns:a16="http://schemas.microsoft.com/office/drawing/2014/main" id="{0FB76FBD-4E7C-45D7-8741-1902748D0BCC}"/>
              </a:ext>
            </a:extLst>
          </p:cNvPr>
          <p:cNvSpPr/>
          <p:nvPr/>
        </p:nvSpPr>
        <p:spPr>
          <a:xfrm>
            <a:off x="10954961" y="69705"/>
            <a:ext cx="900000" cy="252000"/>
          </a:xfrm>
          <a:prstGeom prst="rect">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b="1" dirty="0"/>
              <a:t>Entwurf</a:t>
            </a:r>
          </a:p>
        </p:txBody>
      </p:sp>
      <p:sp>
        <p:nvSpPr>
          <p:cNvPr id="51" name="Textfeld 50">
            <a:extLst>
              <a:ext uri="{FF2B5EF4-FFF2-40B4-BE49-F238E27FC236}">
                <a16:creationId xmlns:a16="http://schemas.microsoft.com/office/drawing/2014/main" id="{5D0FE15E-1E4D-49CF-BFA0-2C4D4D3CB3E6}"/>
              </a:ext>
            </a:extLst>
          </p:cNvPr>
          <p:cNvSpPr txBox="1"/>
          <p:nvPr/>
        </p:nvSpPr>
        <p:spPr>
          <a:xfrm>
            <a:off x="334963" y="6544666"/>
            <a:ext cx="1380506" cy="215444"/>
          </a:xfrm>
          <a:prstGeom prst="rect">
            <a:avLst/>
          </a:prstGeom>
          <a:noFill/>
        </p:spPr>
        <p:txBody>
          <a:bodyPr wrap="none" rtlCol="0" anchor="b">
            <a:spAutoFit/>
          </a:bodyPr>
          <a:lstStyle/>
          <a:p>
            <a:r>
              <a:rPr lang="de-DE" sz="800" dirty="0"/>
              <a:t>Quelle: Projektteam Phönix</a:t>
            </a:r>
          </a:p>
        </p:txBody>
      </p:sp>
    </p:spTree>
    <p:extLst>
      <p:ext uri="{BB962C8B-B14F-4D97-AF65-F5344CB8AC3E}">
        <p14:creationId xmlns:p14="http://schemas.microsoft.com/office/powerpoint/2010/main" val="174807431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9" name="Objekt 58" hidden="1">
            <a:extLst>
              <a:ext uri="{FF2B5EF4-FFF2-40B4-BE49-F238E27FC236}">
                <a16:creationId xmlns:a16="http://schemas.microsoft.com/office/drawing/2014/main" id="{60528071-3734-46B2-8DCF-360C1F77A786}"/>
              </a:ext>
            </a:extLst>
          </p:cNvPr>
          <p:cNvGraphicFramePr>
            <a:graphicFrameLocks noChangeAspect="1"/>
          </p:cNvGraphicFramePr>
          <p:nvPr>
            <p:custDataLst>
              <p:tags r:id="rId1"/>
            </p:custDataLst>
            <p:extLst>
              <p:ext uri="{D42A27DB-BD31-4B8C-83A1-F6EECF244321}">
                <p14:modId xmlns:p14="http://schemas.microsoft.com/office/powerpoint/2010/main" val="13544170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25" imgH="426" progId="TCLayout.ActiveDocument.1">
                  <p:embed/>
                </p:oleObj>
              </mc:Choice>
              <mc:Fallback>
                <p:oleObj name="think-cell Folie" r:id="rId4" imgW="425" imgH="426" progId="TCLayout.ActiveDocument.1">
                  <p:embed/>
                  <p:pic>
                    <p:nvPicPr>
                      <p:cNvPr id="59" name="Objekt 58" hidden="1">
                        <a:extLst>
                          <a:ext uri="{FF2B5EF4-FFF2-40B4-BE49-F238E27FC236}">
                            <a16:creationId xmlns:a16="http://schemas.microsoft.com/office/drawing/2014/main" id="{60528071-3734-46B2-8DCF-360C1F77A78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294BDE24-F7BA-44EF-8B87-377957F26EE4}"/>
              </a:ext>
            </a:extLst>
          </p:cNvPr>
          <p:cNvSpPr>
            <a:spLocks noGrp="1"/>
          </p:cNvSpPr>
          <p:nvPr>
            <p:ph type="title"/>
          </p:nvPr>
        </p:nvSpPr>
        <p:spPr>
          <a:xfrm>
            <a:off x="334963" y="333374"/>
            <a:ext cx="11520000" cy="540000"/>
          </a:xfrm>
        </p:spPr>
        <p:txBody>
          <a:bodyPr vert="horz"/>
          <a:lstStyle/>
          <a:p>
            <a:r>
              <a:rPr lang="de-DE" dirty="0"/>
              <a:t>Gremien &amp; Verantwortlichkeiten</a:t>
            </a:r>
          </a:p>
        </p:txBody>
      </p:sp>
      <p:grpSp>
        <p:nvGrpSpPr>
          <p:cNvPr id="10" name="Gruppieren 9">
            <a:extLst>
              <a:ext uri="{FF2B5EF4-FFF2-40B4-BE49-F238E27FC236}">
                <a16:creationId xmlns:a16="http://schemas.microsoft.com/office/drawing/2014/main" id="{A11E51CA-86FC-4757-9BA1-B375ABE5214D}"/>
              </a:ext>
            </a:extLst>
          </p:cNvPr>
          <p:cNvGrpSpPr/>
          <p:nvPr/>
        </p:nvGrpSpPr>
        <p:grpSpPr>
          <a:xfrm>
            <a:off x="334962" y="2037172"/>
            <a:ext cx="11520001" cy="0"/>
            <a:chOff x="334962" y="2081293"/>
            <a:chExt cx="11520001" cy="0"/>
          </a:xfrm>
        </p:grpSpPr>
        <p:cxnSp>
          <p:nvCxnSpPr>
            <p:cNvPr id="6" name="Gerader Verbinder 5">
              <a:extLst>
                <a:ext uri="{FF2B5EF4-FFF2-40B4-BE49-F238E27FC236}">
                  <a16:creationId xmlns:a16="http://schemas.microsoft.com/office/drawing/2014/main" id="{0E3FEF84-13CB-4831-BC45-0F3FC6CE4DE1}"/>
                </a:ext>
              </a:extLst>
            </p:cNvPr>
            <p:cNvCxnSpPr/>
            <p:nvPr/>
          </p:nvCxnSpPr>
          <p:spPr>
            <a:xfrm>
              <a:off x="1864965" y="2081293"/>
              <a:ext cx="4895997" cy="0"/>
            </a:xfrm>
            <a:prstGeom prst="line">
              <a:avLst/>
            </a:prstGeom>
            <a:ln w="12700" cap="rnd">
              <a:solidFill>
                <a:schemeClr val="tx1"/>
              </a:solidFill>
              <a:prstDash val="sysDash"/>
            </a:ln>
          </p:spPr>
          <p:style>
            <a:lnRef idx="1">
              <a:schemeClr val="accent1"/>
            </a:lnRef>
            <a:fillRef idx="0">
              <a:schemeClr val="accent1"/>
            </a:fillRef>
            <a:effectRef idx="0">
              <a:schemeClr val="accent1"/>
            </a:effectRef>
            <a:fontRef idx="minor">
              <a:schemeClr val="tx1"/>
            </a:fontRef>
          </p:style>
        </p:cxnSp>
        <p:cxnSp>
          <p:nvCxnSpPr>
            <p:cNvPr id="7" name="Gerader Verbinder 6">
              <a:extLst>
                <a:ext uri="{FF2B5EF4-FFF2-40B4-BE49-F238E27FC236}">
                  <a16:creationId xmlns:a16="http://schemas.microsoft.com/office/drawing/2014/main" id="{798EBC30-BE46-499B-8866-1D95CBA4AE54}"/>
                </a:ext>
              </a:extLst>
            </p:cNvPr>
            <p:cNvCxnSpPr/>
            <p:nvPr/>
          </p:nvCxnSpPr>
          <p:spPr>
            <a:xfrm>
              <a:off x="6958966" y="2081293"/>
              <a:ext cx="4895997" cy="0"/>
            </a:xfrm>
            <a:prstGeom prst="line">
              <a:avLst/>
            </a:prstGeom>
            <a:ln w="12700" cap="rnd">
              <a:solidFill>
                <a:schemeClr val="tx1"/>
              </a:solidFill>
              <a:prstDash val="sysDash"/>
            </a:ln>
          </p:spPr>
          <p:style>
            <a:lnRef idx="1">
              <a:schemeClr val="accent1"/>
            </a:lnRef>
            <a:fillRef idx="0">
              <a:schemeClr val="accent1"/>
            </a:fillRef>
            <a:effectRef idx="0">
              <a:schemeClr val="accent1"/>
            </a:effectRef>
            <a:fontRef idx="minor">
              <a:schemeClr val="tx1"/>
            </a:fontRef>
          </p:style>
        </p:cxnSp>
        <p:cxnSp>
          <p:nvCxnSpPr>
            <p:cNvPr id="5" name="Gerader Verbinder 4">
              <a:extLst>
                <a:ext uri="{FF2B5EF4-FFF2-40B4-BE49-F238E27FC236}">
                  <a16:creationId xmlns:a16="http://schemas.microsoft.com/office/drawing/2014/main" id="{24810186-5EB5-4EC5-B90A-1F723244C188}"/>
                </a:ext>
              </a:extLst>
            </p:cNvPr>
            <p:cNvCxnSpPr/>
            <p:nvPr/>
          </p:nvCxnSpPr>
          <p:spPr>
            <a:xfrm>
              <a:off x="334962" y="2081293"/>
              <a:ext cx="1332000" cy="0"/>
            </a:xfrm>
            <a:prstGeom prst="line">
              <a:avLst/>
            </a:prstGeom>
            <a:ln w="12700" cap="rnd">
              <a:solidFill>
                <a:schemeClr val="tx1"/>
              </a:solidFill>
              <a:prstDash val="sysDash"/>
            </a:ln>
          </p:spPr>
          <p:style>
            <a:lnRef idx="1">
              <a:schemeClr val="accent1"/>
            </a:lnRef>
            <a:fillRef idx="0">
              <a:schemeClr val="accent1"/>
            </a:fillRef>
            <a:effectRef idx="0">
              <a:schemeClr val="accent1"/>
            </a:effectRef>
            <a:fontRef idx="minor">
              <a:schemeClr val="tx1"/>
            </a:fontRef>
          </p:style>
        </p:cxnSp>
      </p:grpSp>
      <p:grpSp>
        <p:nvGrpSpPr>
          <p:cNvPr id="4" name="Gruppieren 3">
            <a:extLst>
              <a:ext uri="{FF2B5EF4-FFF2-40B4-BE49-F238E27FC236}">
                <a16:creationId xmlns:a16="http://schemas.microsoft.com/office/drawing/2014/main" id="{48608073-A28C-4771-8A93-C2FD7E4375AF}"/>
              </a:ext>
            </a:extLst>
          </p:cNvPr>
          <p:cNvGrpSpPr/>
          <p:nvPr/>
        </p:nvGrpSpPr>
        <p:grpSpPr>
          <a:xfrm>
            <a:off x="334964" y="3318547"/>
            <a:ext cx="11519997" cy="861774"/>
            <a:chOff x="334963" y="2181665"/>
            <a:chExt cx="11519997" cy="861774"/>
          </a:xfrm>
        </p:grpSpPr>
        <p:sp>
          <p:nvSpPr>
            <p:cNvPr id="12" name="Textplatzhalter 5">
              <a:extLst>
                <a:ext uri="{FF2B5EF4-FFF2-40B4-BE49-F238E27FC236}">
                  <a16:creationId xmlns:a16="http://schemas.microsoft.com/office/drawing/2014/main" id="{3E9568C4-2F73-431F-BCA3-7F21F3E917A5}"/>
                </a:ext>
              </a:extLst>
            </p:cNvPr>
            <p:cNvSpPr txBox="1">
              <a:spLocks/>
            </p:cNvSpPr>
            <p:nvPr/>
          </p:nvSpPr>
          <p:spPr>
            <a:xfrm>
              <a:off x="1864962" y="2181665"/>
              <a:ext cx="4895997" cy="430887"/>
            </a:xfrm>
            <a:prstGeom prst="rect">
              <a:avLst/>
            </a:prstGeom>
          </p:spPr>
          <p:txBody>
            <a:bodyPr vert="horz" wrap="square" lIns="0" tIns="0" rIns="0" bIns="0" rtlCol="0">
              <a:spAutoFit/>
            </a:bodyPr>
            <a:lstStyle>
              <a:lvl1pPr marL="0" indent="0" algn="l" defTabSz="914400" rtl="0" eaLnBrk="1" latinLnBrk="0" hangingPunct="1">
                <a:spcBef>
                  <a:spcPts val="0"/>
                </a:spcBef>
                <a:spcAft>
                  <a:spcPts val="0"/>
                </a:spcAft>
                <a:buFont typeface="Arial" pitchFamily="34" charset="0"/>
                <a:buNone/>
                <a:defRPr sz="1600" kern="1200">
                  <a:solidFill>
                    <a:schemeClr val="tx1"/>
                  </a:solidFill>
                  <a:latin typeface="+mn-lt"/>
                  <a:ea typeface="+mn-ea"/>
                  <a:cs typeface="+mn-cs"/>
                </a:defRPr>
              </a:lvl1pPr>
              <a:lvl2pPr marL="144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2pPr>
              <a:lvl3pPr marL="288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3pPr>
              <a:lvl4pPr marL="432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4pPr>
              <a:lvl5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5pPr>
              <a:lvl6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6pPr>
              <a:lvl7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7pPr>
              <a:lvl8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8pPr>
              <a:lvl9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9pPr>
            </a:lstStyle>
            <a:p>
              <a:pPr marL="285750" indent="-285750">
                <a:buFont typeface="Wingdings" panose="05000000000000000000" pitchFamily="2" charset="2"/>
                <a:buChar char="§"/>
              </a:pPr>
              <a:r>
                <a:rPr lang="de-DE" sz="1400" dirty="0"/>
                <a:t>Definierte Steuerkreis-Mitglieder</a:t>
              </a:r>
            </a:p>
            <a:p>
              <a:pPr marL="285750" indent="-285750">
                <a:buFont typeface="Wingdings" panose="05000000000000000000" pitchFamily="2" charset="2"/>
                <a:buChar char="§"/>
              </a:pPr>
              <a:r>
                <a:rPr lang="de-DE" sz="1400" dirty="0"/>
                <a:t>Projektleitung inkl. Teilprojektleiter</a:t>
              </a:r>
            </a:p>
          </p:txBody>
        </p:sp>
        <p:sp>
          <p:nvSpPr>
            <p:cNvPr id="13" name="Textplatzhalter 5">
              <a:extLst>
                <a:ext uri="{FF2B5EF4-FFF2-40B4-BE49-F238E27FC236}">
                  <a16:creationId xmlns:a16="http://schemas.microsoft.com/office/drawing/2014/main" id="{6B73DDB1-2066-4A3A-95F1-DABE0D56E66D}"/>
                </a:ext>
              </a:extLst>
            </p:cNvPr>
            <p:cNvSpPr txBox="1">
              <a:spLocks/>
            </p:cNvSpPr>
            <p:nvPr/>
          </p:nvSpPr>
          <p:spPr>
            <a:xfrm>
              <a:off x="6958963" y="2181665"/>
              <a:ext cx="4895997" cy="861774"/>
            </a:xfrm>
            <a:prstGeom prst="rect">
              <a:avLst/>
            </a:prstGeom>
          </p:spPr>
          <p:txBody>
            <a:bodyPr vert="horz" wrap="square" lIns="0" tIns="0" rIns="0" bIns="0" rtlCol="0">
              <a:spAutoFit/>
            </a:bodyPr>
            <a:lstStyle>
              <a:lvl1pPr marL="0" indent="0" algn="l" defTabSz="914400" rtl="0" eaLnBrk="1" latinLnBrk="0" hangingPunct="1">
                <a:spcBef>
                  <a:spcPts val="0"/>
                </a:spcBef>
                <a:spcAft>
                  <a:spcPts val="0"/>
                </a:spcAft>
                <a:buFont typeface="Arial" pitchFamily="34" charset="0"/>
                <a:buNone/>
                <a:defRPr sz="1600" kern="1200">
                  <a:solidFill>
                    <a:schemeClr val="tx1"/>
                  </a:solidFill>
                  <a:latin typeface="+mn-lt"/>
                  <a:ea typeface="+mn-ea"/>
                  <a:cs typeface="+mn-cs"/>
                </a:defRPr>
              </a:lvl1pPr>
              <a:lvl2pPr marL="144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2pPr>
              <a:lvl3pPr marL="288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3pPr>
              <a:lvl4pPr marL="432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4pPr>
              <a:lvl5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5pPr>
              <a:lvl6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6pPr>
              <a:lvl7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7pPr>
              <a:lvl8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8pPr>
              <a:lvl9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9pPr>
            </a:lstStyle>
            <a:p>
              <a:pPr marL="285750" indent="-285750">
                <a:buFont typeface="Wingdings" panose="05000000000000000000" pitchFamily="2" charset="2"/>
                <a:buChar char="§"/>
              </a:pPr>
              <a:r>
                <a:rPr lang="de-DE" sz="1400" dirty="0"/>
                <a:t>Franziska Simoneit (TG)</a:t>
              </a:r>
            </a:p>
            <a:p>
              <a:pPr marL="285750" indent="-285750">
                <a:buFont typeface="Wingdings" panose="05000000000000000000" pitchFamily="2" charset="2"/>
                <a:buChar char="§"/>
              </a:pPr>
              <a:r>
                <a:rPr lang="de-DE" sz="1400" dirty="0"/>
                <a:t>Timo Lange (INC)</a:t>
              </a:r>
            </a:p>
            <a:p>
              <a:pPr marL="285750" indent="-285750">
                <a:buFont typeface="Wingdings" panose="05000000000000000000" pitchFamily="2" charset="2"/>
                <a:buChar char="§"/>
              </a:pPr>
              <a:r>
                <a:rPr lang="de-DE" sz="1400" dirty="0"/>
                <a:t>Robert Mayer (INC)</a:t>
              </a:r>
            </a:p>
            <a:p>
              <a:pPr marL="285750" indent="-285750">
                <a:buFont typeface="Wingdings" panose="05000000000000000000" pitchFamily="2" charset="2"/>
                <a:buChar char="§"/>
              </a:pPr>
              <a:r>
                <a:rPr lang="de-DE" sz="1400" dirty="0"/>
                <a:t>Beauftragte BR-Mitglieder</a:t>
              </a:r>
            </a:p>
          </p:txBody>
        </p:sp>
        <p:sp>
          <p:nvSpPr>
            <p:cNvPr id="11" name="Textplatzhalter 5">
              <a:extLst>
                <a:ext uri="{FF2B5EF4-FFF2-40B4-BE49-F238E27FC236}">
                  <a16:creationId xmlns:a16="http://schemas.microsoft.com/office/drawing/2014/main" id="{FFDF53E5-240B-4BBD-A18D-68BEA114263F}"/>
                </a:ext>
              </a:extLst>
            </p:cNvPr>
            <p:cNvSpPr txBox="1">
              <a:spLocks/>
            </p:cNvSpPr>
            <p:nvPr/>
          </p:nvSpPr>
          <p:spPr>
            <a:xfrm>
              <a:off x="334963" y="2181665"/>
              <a:ext cx="1229133" cy="430887"/>
            </a:xfrm>
            <a:prstGeom prst="rect">
              <a:avLst/>
            </a:prstGeom>
          </p:spPr>
          <p:txBody>
            <a:bodyPr vert="horz" wrap="square" lIns="0" tIns="0" rIns="0" bIns="0" rtlCol="0">
              <a:spAutoFit/>
            </a:bodyPr>
            <a:lstStyle>
              <a:lvl1pPr marL="0" indent="0" algn="l" defTabSz="914400" rtl="0" eaLnBrk="1" latinLnBrk="0" hangingPunct="1">
                <a:spcBef>
                  <a:spcPts val="0"/>
                </a:spcBef>
                <a:spcAft>
                  <a:spcPts val="0"/>
                </a:spcAft>
                <a:buFont typeface="Arial" pitchFamily="34" charset="0"/>
                <a:buNone/>
                <a:defRPr sz="1600" kern="1200">
                  <a:solidFill>
                    <a:schemeClr val="tx1"/>
                  </a:solidFill>
                  <a:latin typeface="+mn-lt"/>
                  <a:ea typeface="+mn-ea"/>
                  <a:cs typeface="+mn-cs"/>
                </a:defRPr>
              </a:lvl1pPr>
              <a:lvl2pPr marL="144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2pPr>
              <a:lvl3pPr marL="288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3pPr>
              <a:lvl4pPr marL="432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4pPr>
              <a:lvl5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5pPr>
              <a:lvl6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6pPr>
              <a:lvl7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7pPr>
              <a:lvl8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8pPr>
              <a:lvl9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9pPr>
            </a:lstStyle>
            <a:p>
              <a:r>
                <a:rPr lang="de-DE" sz="1400" b="1" dirty="0"/>
                <a:t>Gremien-teilnehmer</a:t>
              </a:r>
            </a:p>
          </p:txBody>
        </p:sp>
      </p:grpSp>
      <p:grpSp>
        <p:nvGrpSpPr>
          <p:cNvPr id="9" name="Gruppieren 8">
            <a:extLst>
              <a:ext uri="{FF2B5EF4-FFF2-40B4-BE49-F238E27FC236}">
                <a16:creationId xmlns:a16="http://schemas.microsoft.com/office/drawing/2014/main" id="{B31D5B5C-43A7-4A55-8BFA-012E03FCA936}"/>
              </a:ext>
            </a:extLst>
          </p:cNvPr>
          <p:cNvGrpSpPr/>
          <p:nvPr/>
        </p:nvGrpSpPr>
        <p:grpSpPr>
          <a:xfrm>
            <a:off x="334962" y="3178680"/>
            <a:ext cx="11520001" cy="0"/>
            <a:chOff x="334962" y="3343138"/>
            <a:chExt cx="11520001" cy="0"/>
          </a:xfrm>
        </p:grpSpPr>
        <p:cxnSp>
          <p:nvCxnSpPr>
            <p:cNvPr id="18" name="Gerader Verbinder 17">
              <a:extLst>
                <a:ext uri="{FF2B5EF4-FFF2-40B4-BE49-F238E27FC236}">
                  <a16:creationId xmlns:a16="http://schemas.microsoft.com/office/drawing/2014/main" id="{FEC01CF5-D336-474A-AC9D-27A406062D57}"/>
                </a:ext>
              </a:extLst>
            </p:cNvPr>
            <p:cNvCxnSpPr/>
            <p:nvPr/>
          </p:nvCxnSpPr>
          <p:spPr>
            <a:xfrm>
              <a:off x="1864965" y="3343138"/>
              <a:ext cx="4895997" cy="0"/>
            </a:xfrm>
            <a:prstGeom prst="line">
              <a:avLst/>
            </a:prstGeom>
            <a:ln w="12700" cap="rnd">
              <a:solidFill>
                <a:schemeClr val="tx1"/>
              </a:solidFill>
              <a:prstDash val="sysDash"/>
            </a:ln>
          </p:spPr>
          <p:style>
            <a:lnRef idx="1">
              <a:schemeClr val="accent1"/>
            </a:lnRef>
            <a:fillRef idx="0">
              <a:schemeClr val="accent1"/>
            </a:fillRef>
            <a:effectRef idx="0">
              <a:schemeClr val="accent1"/>
            </a:effectRef>
            <a:fontRef idx="minor">
              <a:schemeClr val="tx1"/>
            </a:fontRef>
          </p:style>
        </p:cxnSp>
        <p:cxnSp>
          <p:nvCxnSpPr>
            <p:cNvPr id="19" name="Gerader Verbinder 18">
              <a:extLst>
                <a:ext uri="{FF2B5EF4-FFF2-40B4-BE49-F238E27FC236}">
                  <a16:creationId xmlns:a16="http://schemas.microsoft.com/office/drawing/2014/main" id="{AA210E3D-8601-4A15-A168-FFD512173806}"/>
                </a:ext>
              </a:extLst>
            </p:cNvPr>
            <p:cNvCxnSpPr/>
            <p:nvPr/>
          </p:nvCxnSpPr>
          <p:spPr>
            <a:xfrm>
              <a:off x="6958966" y="3343138"/>
              <a:ext cx="4895997" cy="0"/>
            </a:xfrm>
            <a:prstGeom prst="line">
              <a:avLst/>
            </a:prstGeom>
            <a:ln w="12700" cap="rnd">
              <a:solidFill>
                <a:schemeClr val="tx1"/>
              </a:solidFill>
              <a:prstDash val="sysDash"/>
            </a:ln>
          </p:spPr>
          <p:style>
            <a:lnRef idx="1">
              <a:schemeClr val="accent1"/>
            </a:lnRef>
            <a:fillRef idx="0">
              <a:schemeClr val="accent1"/>
            </a:fillRef>
            <a:effectRef idx="0">
              <a:schemeClr val="accent1"/>
            </a:effectRef>
            <a:fontRef idx="minor">
              <a:schemeClr val="tx1"/>
            </a:fontRef>
          </p:style>
        </p:cxnSp>
        <p:cxnSp>
          <p:nvCxnSpPr>
            <p:cNvPr id="17" name="Gerader Verbinder 16">
              <a:extLst>
                <a:ext uri="{FF2B5EF4-FFF2-40B4-BE49-F238E27FC236}">
                  <a16:creationId xmlns:a16="http://schemas.microsoft.com/office/drawing/2014/main" id="{28A0CB08-88D8-4B6E-AE0F-BC91F6DED8CD}"/>
                </a:ext>
              </a:extLst>
            </p:cNvPr>
            <p:cNvCxnSpPr/>
            <p:nvPr/>
          </p:nvCxnSpPr>
          <p:spPr>
            <a:xfrm>
              <a:off x="334962" y="3343138"/>
              <a:ext cx="1332000" cy="0"/>
            </a:xfrm>
            <a:prstGeom prst="line">
              <a:avLst/>
            </a:prstGeom>
            <a:ln w="12700" cap="rnd">
              <a:solidFill>
                <a:schemeClr val="tx1"/>
              </a:solidFill>
              <a:prstDash val="sysDash"/>
            </a:ln>
          </p:spPr>
          <p:style>
            <a:lnRef idx="1">
              <a:schemeClr val="accent1"/>
            </a:lnRef>
            <a:fillRef idx="0">
              <a:schemeClr val="accent1"/>
            </a:fillRef>
            <a:effectRef idx="0">
              <a:schemeClr val="accent1"/>
            </a:effectRef>
            <a:fontRef idx="minor">
              <a:schemeClr val="tx1"/>
            </a:fontRef>
          </p:style>
        </p:cxnSp>
      </p:grpSp>
      <p:grpSp>
        <p:nvGrpSpPr>
          <p:cNvPr id="8" name="Gruppieren 7">
            <a:extLst>
              <a:ext uri="{FF2B5EF4-FFF2-40B4-BE49-F238E27FC236}">
                <a16:creationId xmlns:a16="http://schemas.microsoft.com/office/drawing/2014/main" id="{CB882B2A-D865-4E01-9BC6-48077AA651C3}"/>
              </a:ext>
            </a:extLst>
          </p:cNvPr>
          <p:cNvGrpSpPr/>
          <p:nvPr/>
        </p:nvGrpSpPr>
        <p:grpSpPr>
          <a:xfrm>
            <a:off x="334962" y="2177039"/>
            <a:ext cx="11519998" cy="861774"/>
            <a:chOff x="334962" y="3443508"/>
            <a:chExt cx="11519998" cy="861774"/>
          </a:xfrm>
        </p:grpSpPr>
        <p:sp>
          <p:nvSpPr>
            <p:cNvPr id="24" name="Textplatzhalter 5">
              <a:extLst>
                <a:ext uri="{FF2B5EF4-FFF2-40B4-BE49-F238E27FC236}">
                  <a16:creationId xmlns:a16="http://schemas.microsoft.com/office/drawing/2014/main" id="{133E0348-3C9C-4A18-98A3-EDA16E4149FA}"/>
                </a:ext>
              </a:extLst>
            </p:cNvPr>
            <p:cNvSpPr txBox="1">
              <a:spLocks/>
            </p:cNvSpPr>
            <p:nvPr/>
          </p:nvSpPr>
          <p:spPr>
            <a:xfrm>
              <a:off x="1864962" y="3443508"/>
              <a:ext cx="4895997" cy="861774"/>
            </a:xfrm>
            <a:prstGeom prst="rect">
              <a:avLst/>
            </a:prstGeom>
          </p:spPr>
          <p:txBody>
            <a:bodyPr vert="horz" wrap="square" lIns="0" tIns="0" rIns="0" bIns="0" rtlCol="0">
              <a:spAutoFit/>
            </a:bodyPr>
            <a:lstStyle>
              <a:lvl1pPr marL="0" indent="0" algn="l" defTabSz="914400" rtl="0" eaLnBrk="1" latinLnBrk="0" hangingPunct="1">
                <a:spcBef>
                  <a:spcPts val="0"/>
                </a:spcBef>
                <a:spcAft>
                  <a:spcPts val="0"/>
                </a:spcAft>
                <a:buFont typeface="Arial" pitchFamily="34" charset="0"/>
                <a:buNone/>
                <a:defRPr sz="1600" kern="1200">
                  <a:solidFill>
                    <a:schemeClr val="tx1"/>
                  </a:solidFill>
                  <a:latin typeface="+mn-lt"/>
                  <a:ea typeface="+mn-ea"/>
                  <a:cs typeface="+mn-cs"/>
                </a:defRPr>
              </a:lvl1pPr>
              <a:lvl2pPr marL="144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2pPr>
              <a:lvl3pPr marL="288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3pPr>
              <a:lvl4pPr marL="432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4pPr>
              <a:lvl5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5pPr>
              <a:lvl6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6pPr>
              <a:lvl7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7pPr>
              <a:lvl8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8pPr>
              <a:lvl9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9pPr>
            </a:lstStyle>
            <a:p>
              <a:pPr marL="285750" indent="-285750">
                <a:buFont typeface="Wingdings" panose="05000000000000000000" pitchFamily="2" charset="2"/>
                <a:buChar char="§"/>
              </a:pPr>
              <a:r>
                <a:rPr lang="de-DE" sz="1400" dirty="0"/>
                <a:t>Berichterstattung an Steuerkreis</a:t>
              </a:r>
            </a:p>
            <a:p>
              <a:pPr marL="285750" indent="-285750">
                <a:buFont typeface="Wingdings" panose="05000000000000000000" pitchFamily="2" charset="2"/>
                <a:buChar char="§"/>
              </a:pPr>
              <a:r>
                <a:rPr lang="de-DE" sz="1400" dirty="0"/>
                <a:t>Vorbereitung von Entscheidungen und Optionen</a:t>
              </a:r>
            </a:p>
            <a:p>
              <a:pPr marL="285750" indent="-285750">
                <a:buFont typeface="Wingdings" panose="05000000000000000000" pitchFamily="2" charset="2"/>
                <a:buChar char="§"/>
              </a:pPr>
              <a:r>
                <a:rPr lang="de-DE" sz="1400" dirty="0"/>
                <a:t>Darstellung des Projektstatus und der Teilprojektinhalte</a:t>
              </a:r>
            </a:p>
            <a:p>
              <a:pPr marL="285750" indent="-285750">
                <a:buFont typeface="Wingdings" panose="05000000000000000000" pitchFamily="2" charset="2"/>
                <a:buChar char="§"/>
              </a:pPr>
              <a:r>
                <a:rPr lang="de-DE" sz="1400" dirty="0"/>
                <a:t>Abstimmung notwendiger Maßnahmen</a:t>
              </a:r>
            </a:p>
          </p:txBody>
        </p:sp>
        <p:sp>
          <p:nvSpPr>
            <p:cNvPr id="25" name="Textplatzhalter 5">
              <a:extLst>
                <a:ext uri="{FF2B5EF4-FFF2-40B4-BE49-F238E27FC236}">
                  <a16:creationId xmlns:a16="http://schemas.microsoft.com/office/drawing/2014/main" id="{91446B96-94A7-4D02-930C-E0C259D5B228}"/>
                </a:ext>
              </a:extLst>
            </p:cNvPr>
            <p:cNvSpPr txBox="1">
              <a:spLocks/>
            </p:cNvSpPr>
            <p:nvPr/>
          </p:nvSpPr>
          <p:spPr>
            <a:xfrm>
              <a:off x="6958963" y="3443508"/>
              <a:ext cx="4895997" cy="861774"/>
            </a:xfrm>
            <a:prstGeom prst="rect">
              <a:avLst/>
            </a:prstGeom>
          </p:spPr>
          <p:txBody>
            <a:bodyPr vert="horz" wrap="square" lIns="0" tIns="0" rIns="0" bIns="0" rtlCol="0">
              <a:spAutoFit/>
            </a:bodyPr>
            <a:lstStyle>
              <a:lvl1pPr marL="0" indent="0" algn="l" defTabSz="914400" rtl="0" eaLnBrk="1" latinLnBrk="0" hangingPunct="1">
                <a:spcBef>
                  <a:spcPts val="0"/>
                </a:spcBef>
                <a:spcAft>
                  <a:spcPts val="0"/>
                </a:spcAft>
                <a:buFont typeface="Arial" pitchFamily="34" charset="0"/>
                <a:buNone/>
                <a:defRPr sz="1600" kern="1200">
                  <a:solidFill>
                    <a:schemeClr val="tx1"/>
                  </a:solidFill>
                  <a:latin typeface="+mn-lt"/>
                  <a:ea typeface="+mn-ea"/>
                  <a:cs typeface="+mn-cs"/>
                </a:defRPr>
              </a:lvl1pPr>
              <a:lvl2pPr marL="144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2pPr>
              <a:lvl3pPr marL="288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3pPr>
              <a:lvl4pPr marL="432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4pPr>
              <a:lvl5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5pPr>
              <a:lvl6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6pPr>
              <a:lvl7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7pPr>
              <a:lvl8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8pPr>
              <a:lvl9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9pPr>
            </a:lstStyle>
            <a:p>
              <a:pPr marL="285750" indent="-285750">
                <a:buFont typeface="Wingdings" panose="05000000000000000000" pitchFamily="2" charset="2"/>
                <a:buChar char="§"/>
              </a:pPr>
              <a:r>
                <a:rPr lang="de-DE" sz="1400" dirty="0"/>
                <a:t>Vorbereitung der Betriebsratsfolien zu den abgestimmten Maßnahmen</a:t>
              </a:r>
            </a:p>
            <a:p>
              <a:pPr marL="285750" indent="-285750">
                <a:buFont typeface="Wingdings" panose="05000000000000000000" pitchFamily="2" charset="2"/>
                <a:buChar char="§"/>
              </a:pPr>
              <a:r>
                <a:rPr lang="de-DE" sz="1400" dirty="0"/>
                <a:t>(Vorab-)Kommunikation mit dem Betriebsrat</a:t>
              </a:r>
            </a:p>
            <a:p>
              <a:pPr marL="285750" indent="-285750">
                <a:buFont typeface="Wingdings" panose="05000000000000000000" pitchFamily="2" charset="2"/>
                <a:buChar char="§"/>
              </a:pPr>
              <a:r>
                <a:rPr lang="de-DE" sz="1400" dirty="0"/>
                <a:t>Verhandlung und Abstimmung mit BR zu den Maßnahmen</a:t>
              </a:r>
            </a:p>
          </p:txBody>
        </p:sp>
        <p:sp>
          <p:nvSpPr>
            <p:cNvPr id="23" name="Textplatzhalter 5">
              <a:extLst>
                <a:ext uri="{FF2B5EF4-FFF2-40B4-BE49-F238E27FC236}">
                  <a16:creationId xmlns:a16="http://schemas.microsoft.com/office/drawing/2014/main" id="{B06E75AC-6E6E-4B9F-849A-4F8422C00627}"/>
                </a:ext>
              </a:extLst>
            </p:cNvPr>
            <p:cNvSpPr txBox="1">
              <a:spLocks/>
            </p:cNvSpPr>
            <p:nvPr/>
          </p:nvSpPr>
          <p:spPr>
            <a:xfrm>
              <a:off x="334962" y="3443508"/>
              <a:ext cx="1332000" cy="215444"/>
            </a:xfrm>
            <a:prstGeom prst="rect">
              <a:avLst/>
            </a:prstGeom>
          </p:spPr>
          <p:txBody>
            <a:bodyPr vert="horz" wrap="square" lIns="0" tIns="0" rIns="0" bIns="0" rtlCol="0">
              <a:spAutoFit/>
            </a:bodyPr>
            <a:lstStyle>
              <a:lvl1pPr marL="0" indent="0" algn="l" defTabSz="914400" rtl="0" eaLnBrk="1" latinLnBrk="0" hangingPunct="1">
                <a:spcBef>
                  <a:spcPts val="0"/>
                </a:spcBef>
                <a:spcAft>
                  <a:spcPts val="0"/>
                </a:spcAft>
                <a:buFont typeface="Arial" pitchFamily="34" charset="0"/>
                <a:buNone/>
                <a:defRPr sz="1600" kern="1200">
                  <a:solidFill>
                    <a:schemeClr val="tx1"/>
                  </a:solidFill>
                  <a:latin typeface="+mn-lt"/>
                  <a:ea typeface="+mn-ea"/>
                  <a:cs typeface="+mn-cs"/>
                </a:defRPr>
              </a:lvl1pPr>
              <a:lvl2pPr marL="144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2pPr>
              <a:lvl3pPr marL="288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3pPr>
              <a:lvl4pPr marL="432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4pPr>
              <a:lvl5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5pPr>
              <a:lvl6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6pPr>
              <a:lvl7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7pPr>
              <a:lvl8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8pPr>
              <a:lvl9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9pPr>
            </a:lstStyle>
            <a:p>
              <a:r>
                <a:rPr lang="de-DE" sz="1400" b="1" dirty="0"/>
                <a:t>Aufgaben</a:t>
              </a:r>
            </a:p>
          </p:txBody>
        </p:sp>
      </p:grpSp>
      <p:grpSp>
        <p:nvGrpSpPr>
          <p:cNvPr id="20" name="Gruppieren 19">
            <a:extLst>
              <a:ext uri="{FF2B5EF4-FFF2-40B4-BE49-F238E27FC236}">
                <a16:creationId xmlns:a16="http://schemas.microsoft.com/office/drawing/2014/main" id="{8CDE4B96-6677-4D85-BA91-F99F4490D30E}"/>
              </a:ext>
            </a:extLst>
          </p:cNvPr>
          <p:cNvGrpSpPr/>
          <p:nvPr/>
        </p:nvGrpSpPr>
        <p:grpSpPr>
          <a:xfrm>
            <a:off x="334963" y="1651084"/>
            <a:ext cx="11519997" cy="215444"/>
            <a:chOff x="334963" y="1611589"/>
            <a:chExt cx="11519997" cy="215444"/>
          </a:xfrm>
        </p:grpSpPr>
        <p:sp>
          <p:nvSpPr>
            <p:cNvPr id="30" name="Textplatzhalter 5">
              <a:extLst>
                <a:ext uri="{FF2B5EF4-FFF2-40B4-BE49-F238E27FC236}">
                  <a16:creationId xmlns:a16="http://schemas.microsoft.com/office/drawing/2014/main" id="{749CC772-1CE3-4426-A136-8BCE6E6E4CD4}"/>
                </a:ext>
              </a:extLst>
            </p:cNvPr>
            <p:cNvSpPr txBox="1">
              <a:spLocks/>
            </p:cNvSpPr>
            <p:nvPr/>
          </p:nvSpPr>
          <p:spPr>
            <a:xfrm>
              <a:off x="1864962" y="1611589"/>
              <a:ext cx="4895997" cy="215444"/>
            </a:xfrm>
            <a:prstGeom prst="rect">
              <a:avLst/>
            </a:prstGeom>
          </p:spPr>
          <p:txBody>
            <a:bodyPr vert="horz" wrap="square" lIns="0" tIns="0" rIns="0" bIns="0" rtlCol="0">
              <a:spAutoFit/>
            </a:bodyPr>
            <a:lstStyle>
              <a:lvl1pPr marL="0" indent="0" algn="l" defTabSz="914400" rtl="0" eaLnBrk="1" latinLnBrk="0" hangingPunct="1">
                <a:spcBef>
                  <a:spcPts val="0"/>
                </a:spcBef>
                <a:spcAft>
                  <a:spcPts val="0"/>
                </a:spcAft>
                <a:buFont typeface="Arial" pitchFamily="34" charset="0"/>
                <a:buNone/>
                <a:defRPr sz="1600" kern="1200">
                  <a:solidFill>
                    <a:schemeClr val="tx1"/>
                  </a:solidFill>
                  <a:latin typeface="+mn-lt"/>
                  <a:ea typeface="+mn-ea"/>
                  <a:cs typeface="+mn-cs"/>
                </a:defRPr>
              </a:lvl1pPr>
              <a:lvl2pPr marL="144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2pPr>
              <a:lvl3pPr marL="288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3pPr>
              <a:lvl4pPr marL="432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4pPr>
              <a:lvl5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5pPr>
              <a:lvl6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6pPr>
              <a:lvl7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7pPr>
              <a:lvl8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8pPr>
              <a:lvl9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9pPr>
            </a:lstStyle>
            <a:p>
              <a:r>
                <a:rPr lang="de-DE" sz="1400" dirty="0"/>
                <a:t>Robert Mayer (INC)</a:t>
              </a:r>
            </a:p>
          </p:txBody>
        </p:sp>
        <p:sp>
          <p:nvSpPr>
            <p:cNvPr id="31" name="Textplatzhalter 5">
              <a:extLst>
                <a:ext uri="{FF2B5EF4-FFF2-40B4-BE49-F238E27FC236}">
                  <a16:creationId xmlns:a16="http://schemas.microsoft.com/office/drawing/2014/main" id="{689473DE-0C40-4D4F-9E70-AF73EB78813B}"/>
                </a:ext>
              </a:extLst>
            </p:cNvPr>
            <p:cNvSpPr txBox="1">
              <a:spLocks/>
            </p:cNvSpPr>
            <p:nvPr/>
          </p:nvSpPr>
          <p:spPr>
            <a:xfrm>
              <a:off x="6958963" y="1611589"/>
              <a:ext cx="4895997" cy="215444"/>
            </a:xfrm>
            <a:prstGeom prst="rect">
              <a:avLst/>
            </a:prstGeom>
          </p:spPr>
          <p:txBody>
            <a:bodyPr vert="horz" wrap="square" lIns="0" tIns="0" rIns="0" bIns="0" rtlCol="0">
              <a:spAutoFit/>
            </a:bodyPr>
            <a:lstStyle>
              <a:lvl1pPr marL="0" indent="0" algn="l" defTabSz="914400" rtl="0" eaLnBrk="1" latinLnBrk="0" hangingPunct="1">
                <a:spcBef>
                  <a:spcPts val="0"/>
                </a:spcBef>
                <a:spcAft>
                  <a:spcPts val="0"/>
                </a:spcAft>
                <a:buFont typeface="Arial" pitchFamily="34" charset="0"/>
                <a:buNone/>
                <a:defRPr sz="1600" kern="1200">
                  <a:solidFill>
                    <a:schemeClr val="tx1"/>
                  </a:solidFill>
                  <a:latin typeface="+mn-lt"/>
                  <a:ea typeface="+mn-ea"/>
                  <a:cs typeface="+mn-cs"/>
                </a:defRPr>
              </a:lvl1pPr>
              <a:lvl2pPr marL="144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2pPr>
              <a:lvl3pPr marL="288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3pPr>
              <a:lvl4pPr marL="432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4pPr>
              <a:lvl5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5pPr>
              <a:lvl6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6pPr>
              <a:lvl7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7pPr>
              <a:lvl8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8pPr>
              <a:lvl9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9pPr>
            </a:lstStyle>
            <a:p>
              <a:r>
                <a:rPr lang="de-DE" sz="1400" dirty="0">
                  <a:solidFill>
                    <a:schemeClr val="tx1"/>
                  </a:solidFill>
                </a:rPr>
                <a:t>Franziska Simoneit (TG)</a:t>
              </a:r>
            </a:p>
          </p:txBody>
        </p:sp>
        <p:sp>
          <p:nvSpPr>
            <p:cNvPr id="29" name="Textplatzhalter 5">
              <a:extLst>
                <a:ext uri="{FF2B5EF4-FFF2-40B4-BE49-F238E27FC236}">
                  <a16:creationId xmlns:a16="http://schemas.microsoft.com/office/drawing/2014/main" id="{634CF29F-DF29-4B18-887A-8D2AA002A02E}"/>
                </a:ext>
              </a:extLst>
            </p:cNvPr>
            <p:cNvSpPr txBox="1">
              <a:spLocks/>
            </p:cNvSpPr>
            <p:nvPr/>
          </p:nvSpPr>
          <p:spPr>
            <a:xfrm>
              <a:off x="334963" y="1611589"/>
              <a:ext cx="1331998" cy="215444"/>
            </a:xfrm>
            <a:prstGeom prst="rect">
              <a:avLst/>
            </a:prstGeom>
          </p:spPr>
          <p:txBody>
            <a:bodyPr vert="horz" wrap="square" lIns="0" tIns="0" rIns="0" bIns="0" rtlCol="0">
              <a:spAutoFit/>
            </a:bodyPr>
            <a:lstStyle>
              <a:lvl1pPr marL="0" indent="0" algn="l" defTabSz="914400" rtl="0" eaLnBrk="1" latinLnBrk="0" hangingPunct="1">
                <a:spcBef>
                  <a:spcPts val="0"/>
                </a:spcBef>
                <a:spcAft>
                  <a:spcPts val="0"/>
                </a:spcAft>
                <a:buFont typeface="Arial" pitchFamily="34" charset="0"/>
                <a:buNone/>
                <a:defRPr sz="1600" kern="1200">
                  <a:solidFill>
                    <a:schemeClr val="tx1"/>
                  </a:solidFill>
                  <a:latin typeface="+mn-lt"/>
                  <a:ea typeface="+mn-ea"/>
                  <a:cs typeface="+mn-cs"/>
                </a:defRPr>
              </a:lvl1pPr>
              <a:lvl2pPr marL="144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2pPr>
              <a:lvl3pPr marL="288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3pPr>
              <a:lvl4pPr marL="432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4pPr>
              <a:lvl5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5pPr>
              <a:lvl6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6pPr>
              <a:lvl7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7pPr>
              <a:lvl8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8pPr>
              <a:lvl9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9pPr>
            </a:lstStyle>
            <a:p>
              <a:r>
                <a:rPr lang="de-DE" sz="1400" b="1" dirty="0"/>
                <a:t>Verantwortlich</a:t>
              </a:r>
            </a:p>
          </p:txBody>
        </p:sp>
      </p:grpSp>
      <p:grpSp>
        <p:nvGrpSpPr>
          <p:cNvPr id="21" name="Gruppieren 20">
            <a:extLst>
              <a:ext uri="{FF2B5EF4-FFF2-40B4-BE49-F238E27FC236}">
                <a16:creationId xmlns:a16="http://schemas.microsoft.com/office/drawing/2014/main" id="{B7A65C74-8B04-4504-A878-7B8FF019B312}"/>
              </a:ext>
            </a:extLst>
          </p:cNvPr>
          <p:cNvGrpSpPr/>
          <p:nvPr/>
        </p:nvGrpSpPr>
        <p:grpSpPr>
          <a:xfrm>
            <a:off x="334962" y="1267106"/>
            <a:ext cx="11520001" cy="244111"/>
            <a:chOff x="334962" y="1267106"/>
            <a:chExt cx="11520001" cy="244111"/>
          </a:xfrm>
        </p:grpSpPr>
        <p:sp>
          <p:nvSpPr>
            <p:cNvPr id="37" name="Textplatzhalter 5">
              <a:extLst>
                <a:ext uri="{FF2B5EF4-FFF2-40B4-BE49-F238E27FC236}">
                  <a16:creationId xmlns:a16="http://schemas.microsoft.com/office/drawing/2014/main" id="{5A185F24-26A4-412E-B5BD-C0E815437B80}"/>
                </a:ext>
              </a:extLst>
            </p:cNvPr>
            <p:cNvSpPr txBox="1">
              <a:spLocks/>
            </p:cNvSpPr>
            <p:nvPr/>
          </p:nvSpPr>
          <p:spPr>
            <a:xfrm>
              <a:off x="1864965" y="1267106"/>
              <a:ext cx="4895997" cy="215444"/>
            </a:xfrm>
            <a:prstGeom prst="rect">
              <a:avLst/>
            </a:prstGeom>
          </p:spPr>
          <p:txBody>
            <a:bodyPr vert="horz" wrap="square" lIns="0" tIns="0" rIns="0" bIns="0" rtlCol="0" anchor="b">
              <a:spAutoFit/>
            </a:bodyPr>
            <a:lstStyle>
              <a:lvl1pPr marL="0" indent="0" algn="l" defTabSz="914400" rtl="0" eaLnBrk="1" latinLnBrk="0" hangingPunct="1">
                <a:spcBef>
                  <a:spcPts val="0"/>
                </a:spcBef>
                <a:spcAft>
                  <a:spcPts val="0"/>
                </a:spcAft>
                <a:buFont typeface="Arial" pitchFamily="34" charset="0"/>
                <a:buNone/>
                <a:defRPr sz="1600" kern="1200">
                  <a:solidFill>
                    <a:schemeClr val="tx1"/>
                  </a:solidFill>
                  <a:latin typeface="+mn-lt"/>
                  <a:ea typeface="+mn-ea"/>
                  <a:cs typeface="+mn-cs"/>
                </a:defRPr>
              </a:lvl1pPr>
              <a:lvl2pPr marL="144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2pPr>
              <a:lvl3pPr marL="288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3pPr>
              <a:lvl4pPr marL="432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4pPr>
              <a:lvl5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5pPr>
              <a:lvl6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6pPr>
              <a:lvl7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7pPr>
              <a:lvl8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8pPr>
              <a:lvl9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9pPr>
            </a:lstStyle>
            <a:p>
              <a:r>
                <a:rPr lang="de-DE" sz="1400" b="1" dirty="0"/>
                <a:t>Steuerkreis</a:t>
              </a:r>
            </a:p>
          </p:txBody>
        </p:sp>
        <p:sp>
          <p:nvSpPr>
            <p:cNvPr id="39" name="Textplatzhalter 5">
              <a:extLst>
                <a:ext uri="{FF2B5EF4-FFF2-40B4-BE49-F238E27FC236}">
                  <a16:creationId xmlns:a16="http://schemas.microsoft.com/office/drawing/2014/main" id="{100895F7-35D4-42A3-BA8D-1E0FCBC79D12}"/>
                </a:ext>
              </a:extLst>
            </p:cNvPr>
            <p:cNvSpPr txBox="1">
              <a:spLocks/>
            </p:cNvSpPr>
            <p:nvPr/>
          </p:nvSpPr>
          <p:spPr>
            <a:xfrm>
              <a:off x="6958966" y="1267106"/>
              <a:ext cx="4895997" cy="215444"/>
            </a:xfrm>
            <a:prstGeom prst="rect">
              <a:avLst/>
            </a:prstGeom>
          </p:spPr>
          <p:txBody>
            <a:bodyPr vert="horz" wrap="square" lIns="0" tIns="0" rIns="0" bIns="0" rtlCol="0" anchor="b">
              <a:spAutoFit/>
            </a:bodyPr>
            <a:lstStyle>
              <a:lvl1pPr marL="0" indent="0" algn="l" defTabSz="914400" rtl="0" eaLnBrk="1" latinLnBrk="0" hangingPunct="1">
                <a:spcBef>
                  <a:spcPts val="0"/>
                </a:spcBef>
                <a:spcAft>
                  <a:spcPts val="0"/>
                </a:spcAft>
                <a:buFont typeface="Arial" pitchFamily="34" charset="0"/>
                <a:buNone/>
                <a:defRPr sz="1600" kern="1200">
                  <a:solidFill>
                    <a:schemeClr val="tx1"/>
                  </a:solidFill>
                  <a:latin typeface="+mn-lt"/>
                  <a:ea typeface="+mn-ea"/>
                  <a:cs typeface="+mn-cs"/>
                </a:defRPr>
              </a:lvl1pPr>
              <a:lvl2pPr marL="144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2pPr>
              <a:lvl3pPr marL="288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3pPr>
              <a:lvl4pPr marL="432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4pPr>
              <a:lvl5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5pPr>
              <a:lvl6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6pPr>
              <a:lvl7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7pPr>
              <a:lvl8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8pPr>
              <a:lvl9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9pPr>
            </a:lstStyle>
            <a:p>
              <a:r>
                <a:rPr lang="de-DE" sz="1400" b="1" dirty="0"/>
                <a:t>Betriebsratssitzung</a:t>
              </a:r>
            </a:p>
          </p:txBody>
        </p:sp>
        <p:grpSp>
          <p:nvGrpSpPr>
            <p:cNvPr id="16" name="Gruppieren 15">
              <a:extLst>
                <a:ext uri="{FF2B5EF4-FFF2-40B4-BE49-F238E27FC236}">
                  <a16:creationId xmlns:a16="http://schemas.microsoft.com/office/drawing/2014/main" id="{E4F24E36-1E19-48B2-A8C7-2FE15CFEB5FE}"/>
                </a:ext>
              </a:extLst>
            </p:cNvPr>
            <p:cNvGrpSpPr/>
            <p:nvPr/>
          </p:nvGrpSpPr>
          <p:grpSpPr>
            <a:xfrm>
              <a:off x="334962" y="1511217"/>
              <a:ext cx="11520001" cy="0"/>
              <a:chOff x="334962" y="1511217"/>
              <a:chExt cx="11520001" cy="0"/>
            </a:xfrm>
          </p:grpSpPr>
          <p:cxnSp>
            <p:nvCxnSpPr>
              <p:cNvPr id="36" name="Gerader Verbinder 35">
                <a:extLst>
                  <a:ext uri="{FF2B5EF4-FFF2-40B4-BE49-F238E27FC236}">
                    <a16:creationId xmlns:a16="http://schemas.microsoft.com/office/drawing/2014/main" id="{693D6269-4939-44E7-83B4-5054116F7F76}"/>
                  </a:ext>
                </a:extLst>
              </p:cNvPr>
              <p:cNvCxnSpPr/>
              <p:nvPr/>
            </p:nvCxnSpPr>
            <p:spPr>
              <a:xfrm>
                <a:off x="1864965" y="1511217"/>
                <a:ext cx="4895997" cy="0"/>
              </a:xfrm>
              <a:prstGeom prst="line">
                <a:avLst/>
              </a:prstGeom>
              <a:ln w="12700" cap="flat">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38" name="Gerader Verbinder 37">
                <a:extLst>
                  <a:ext uri="{FF2B5EF4-FFF2-40B4-BE49-F238E27FC236}">
                    <a16:creationId xmlns:a16="http://schemas.microsoft.com/office/drawing/2014/main" id="{2B06A78E-04C9-42D1-A96E-3B8F63482527}"/>
                  </a:ext>
                </a:extLst>
              </p:cNvPr>
              <p:cNvCxnSpPr/>
              <p:nvPr/>
            </p:nvCxnSpPr>
            <p:spPr>
              <a:xfrm>
                <a:off x="6958966" y="1511217"/>
                <a:ext cx="4895997" cy="0"/>
              </a:xfrm>
              <a:prstGeom prst="line">
                <a:avLst/>
              </a:prstGeom>
              <a:ln w="12700" cap="flat">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35" name="Gerader Verbinder 34">
                <a:extLst>
                  <a:ext uri="{FF2B5EF4-FFF2-40B4-BE49-F238E27FC236}">
                    <a16:creationId xmlns:a16="http://schemas.microsoft.com/office/drawing/2014/main" id="{FA29661A-2C62-4E12-880B-E4CCE7F20216}"/>
                  </a:ext>
                </a:extLst>
              </p:cNvPr>
              <p:cNvCxnSpPr>
                <a:cxnSpLocks/>
              </p:cNvCxnSpPr>
              <p:nvPr/>
            </p:nvCxnSpPr>
            <p:spPr>
              <a:xfrm>
                <a:off x="334962" y="1511217"/>
                <a:ext cx="13320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44" name="Textplatzhalter 5">
              <a:extLst>
                <a:ext uri="{FF2B5EF4-FFF2-40B4-BE49-F238E27FC236}">
                  <a16:creationId xmlns:a16="http://schemas.microsoft.com/office/drawing/2014/main" id="{1704750D-AE15-427C-9A77-C4CF3C47F9AB}"/>
                </a:ext>
              </a:extLst>
            </p:cNvPr>
            <p:cNvSpPr txBox="1">
              <a:spLocks/>
            </p:cNvSpPr>
            <p:nvPr/>
          </p:nvSpPr>
          <p:spPr>
            <a:xfrm>
              <a:off x="334963" y="1267106"/>
              <a:ext cx="1229133" cy="215444"/>
            </a:xfrm>
            <a:prstGeom prst="rect">
              <a:avLst/>
            </a:prstGeom>
          </p:spPr>
          <p:txBody>
            <a:bodyPr vert="horz" wrap="square" lIns="0" tIns="0" rIns="0" bIns="0" rtlCol="0" anchor="b">
              <a:spAutoFit/>
            </a:bodyPr>
            <a:lstStyle>
              <a:lvl1pPr marL="0" indent="0" algn="l" defTabSz="914400" rtl="0" eaLnBrk="1" latinLnBrk="0" hangingPunct="1">
                <a:spcBef>
                  <a:spcPts val="0"/>
                </a:spcBef>
                <a:spcAft>
                  <a:spcPts val="0"/>
                </a:spcAft>
                <a:buFont typeface="Arial" pitchFamily="34" charset="0"/>
                <a:buNone/>
                <a:defRPr sz="1600" kern="1200">
                  <a:solidFill>
                    <a:schemeClr val="tx1"/>
                  </a:solidFill>
                  <a:latin typeface="+mn-lt"/>
                  <a:ea typeface="+mn-ea"/>
                  <a:cs typeface="+mn-cs"/>
                </a:defRPr>
              </a:lvl1pPr>
              <a:lvl2pPr marL="144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2pPr>
              <a:lvl3pPr marL="288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3pPr>
              <a:lvl4pPr marL="432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4pPr>
              <a:lvl5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5pPr>
              <a:lvl6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6pPr>
              <a:lvl7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7pPr>
              <a:lvl8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8pPr>
              <a:lvl9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9pPr>
            </a:lstStyle>
            <a:p>
              <a:r>
                <a:rPr lang="de-DE" sz="1400" b="1" dirty="0"/>
                <a:t>Gremium</a:t>
              </a:r>
            </a:p>
          </p:txBody>
        </p:sp>
      </p:grpSp>
      <p:grpSp>
        <p:nvGrpSpPr>
          <p:cNvPr id="14" name="Gruppieren 13">
            <a:extLst>
              <a:ext uri="{FF2B5EF4-FFF2-40B4-BE49-F238E27FC236}">
                <a16:creationId xmlns:a16="http://schemas.microsoft.com/office/drawing/2014/main" id="{1C6B69D3-C2CB-4869-A5EB-6B0E5C8DB52F}"/>
              </a:ext>
            </a:extLst>
          </p:cNvPr>
          <p:cNvGrpSpPr/>
          <p:nvPr/>
        </p:nvGrpSpPr>
        <p:grpSpPr>
          <a:xfrm>
            <a:off x="334962" y="4320188"/>
            <a:ext cx="11520001" cy="0"/>
            <a:chOff x="334962" y="4359684"/>
            <a:chExt cx="11520001" cy="0"/>
          </a:xfrm>
        </p:grpSpPr>
        <p:cxnSp>
          <p:nvCxnSpPr>
            <p:cNvPr id="52" name="Gerader Verbinder 51">
              <a:extLst>
                <a:ext uri="{FF2B5EF4-FFF2-40B4-BE49-F238E27FC236}">
                  <a16:creationId xmlns:a16="http://schemas.microsoft.com/office/drawing/2014/main" id="{9160BDEE-5940-4B94-BE61-5DD1718A7AA3}"/>
                </a:ext>
              </a:extLst>
            </p:cNvPr>
            <p:cNvCxnSpPr/>
            <p:nvPr/>
          </p:nvCxnSpPr>
          <p:spPr>
            <a:xfrm>
              <a:off x="1864965" y="4359684"/>
              <a:ext cx="4895997" cy="0"/>
            </a:xfrm>
            <a:prstGeom prst="line">
              <a:avLst/>
            </a:prstGeom>
            <a:ln w="12700" cap="rnd">
              <a:solidFill>
                <a:schemeClr val="tx1"/>
              </a:solidFill>
              <a:prstDash val="sysDash"/>
            </a:ln>
          </p:spPr>
          <p:style>
            <a:lnRef idx="1">
              <a:schemeClr val="accent1"/>
            </a:lnRef>
            <a:fillRef idx="0">
              <a:schemeClr val="accent1"/>
            </a:fillRef>
            <a:effectRef idx="0">
              <a:schemeClr val="accent1"/>
            </a:effectRef>
            <a:fontRef idx="minor">
              <a:schemeClr val="tx1"/>
            </a:fontRef>
          </p:style>
        </p:cxnSp>
        <p:cxnSp>
          <p:nvCxnSpPr>
            <p:cNvPr id="54" name="Gerader Verbinder 53">
              <a:extLst>
                <a:ext uri="{FF2B5EF4-FFF2-40B4-BE49-F238E27FC236}">
                  <a16:creationId xmlns:a16="http://schemas.microsoft.com/office/drawing/2014/main" id="{0546E555-3FC7-45AA-8A9D-1257B6234017}"/>
                </a:ext>
              </a:extLst>
            </p:cNvPr>
            <p:cNvCxnSpPr/>
            <p:nvPr/>
          </p:nvCxnSpPr>
          <p:spPr>
            <a:xfrm>
              <a:off x="6958966" y="4359684"/>
              <a:ext cx="4895997" cy="0"/>
            </a:xfrm>
            <a:prstGeom prst="line">
              <a:avLst/>
            </a:prstGeom>
            <a:ln w="12700" cap="rnd">
              <a:solidFill>
                <a:schemeClr val="tx1"/>
              </a:solidFill>
              <a:prstDash val="sysDash"/>
            </a:ln>
          </p:spPr>
          <p:style>
            <a:lnRef idx="1">
              <a:schemeClr val="accent1"/>
            </a:lnRef>
            <a:fillRef idx="0">
              <a:schemeClr val="accent1"/>
            </a:fillRef>
            <a:effectRef idx="0">
              <a:schemeClr val="accent1"/>
            </a:effectRef>
            <a:fontRef idx="minor">
              <a:schemeClr val="tx1"/>
            </a:fontRef>
          </p:style>
        </p:cxnSp>
        <p:cxnSp>
          <p:nvCxnSpPr>
            <p:cNvPr id="56" name="Gerader Verbinder 55">
              <a:extLst>
                <a:ext uri="{FF2B5EF4-FFF2-40B4-BE49-F238E27FC236}">
                  <a16:creationId xmlns:a16="http://schemas.microsoft.com/office/drawing/2014/main" id="{DB3B01D8-BC4B-469A-BC9D-D8D02F1450F0}"/>
                </a:ext>
              </a:extLst>
            </p:cNvPr>
            <p:cNvCxnSpPr/>
            <p:nvPr/>
          </p:nvCxnSpPr>
          <p:spPr>
            <a:xfrm>
              <a:off x="334962" y="4359684"/>
              <a:ext cx="1332000" cy="0"/>
            </a:xfrm>
            <a:prstGeom prst="line">
              <a:avLst/>
            </a:prstGeom>
            <a:ln w="12700" cap="rnd">
              <a:solidFill>
                <a:schemeClr val="tx1"/>
              </a:solidFill>
              <a:prstDash val="sysDash"/>
            </a:ln>
          </p:spPr>
          <p:style>
            <a:lnRef idx="1">
              <a:schemeClr val="accent1"/>
            </a:lnRef>
            <a:fillRef idx="0">
              <a:schemeClr val="accent1"/>
            </a:fillRef>
            <a:effectRef idx="0">
              <a:schemeClr val="accent1"/>
            </a:effectRef>
            <a:fontRef idx="minor">
              <a:schemeClr val="tx1"/>
            </a:fontRef>
          </p:style>
        </p:cxnSp>
      </p:grpSp>
      <p:grpSp>
        <p:nvGrpSpPr>
          <p:cNvPr id="15" name="Gruppieren 14">
            <a:extLst>
              <a:ext uri="{FF2B5EF4-FFF2-40B4-BE49-F238E27FC236}">
                <a16:creationId xmlns:a16="http://schemas.microsoft.com/office/drawing/2014/main" id="{0F07B277-51E9-4BE5-9256-851D9A747AC3}"/>
              </a:ext>
            </a:extLst>
          </p:cNvPr>
          <p:cNvGrpSpPr/>
          <p:nvPr/>
        </p:nvGrpSpPr>
        <p:grpSpPr>
          <a:xfrm>
            <a:off x="334962" y="4460054"/>
            <a:ext cx="11519998" cy="1077218"/>
            <a:chOff x="334962" y="4460054"/>
            <a:chExt cx="11519998" cy="1077218"/>
          </a:xfrm>
        </p:grpSpPr>
        <p:sp>
          <p:nvSpPr>
            <p:cNvPr id="53" name="Textplatzhalter 5">
              <a:extLst>
                <a:ext uri="{FF2B5EF4-FFF2-40B4-BE49-F238E27FC236}">
                  <a16:creationId xmlns:a16="http://schemas.microsoft.com/office/drawing/2014/main" id="{A45BCA5B-8156-48B6-9183-969F3F5A445B}"/>
                </a:ext>
              </a:extLst>
            </p:cNvPr>
            <p:cNvSpPr txBox="1">
              <a:spLocks/>
            </p:cNvSpPr>
            <p:nvPr/>
          </p:nvSpPr>
          <p:spPr>
            <a:xfrm>
              <a:off x="1864962" y="4460054"/>
              <a:ext cx="4895997" cy="1077218"/>
            </a:xfrm>
            <a:prstGeom prst="rect">
              <a:avLst/>
            </a:prstGeom>
          </p:spPr>
          <p:txBody>
            <a:bodyPr vert="horz" wrap="square" lIns="0" tIns="0" rIns="0" bIns="0" rtlCol="0">
              <a:spAutoFit/>
            </a:bodyPr>
            <a:lstStyle>
              <a:lvl1pPr marL="0" indent="0" algn="l" defTabSz="914400" rtl="0" eaLnBrk="1" latinLnBrk="0" hangingPunct="1">
                <a:spcBef>
                  <a:spcPts val="0"/>
                </a:spcBef>
                <a:spcAft>
                  <a:spcPts val="0"/>
                </a:spcAft>
                <a:buFont typeface="Arial" pitchFamily="34" charset="0"/>
                <a:buNone/>
                <a:defRPr sz="1600" kern="1200">
                  <a:solidFill>
                    <a:schemeClr val="tx1"/>
                  </a:solidFill>
                  <a:latin typeface="+mn-lt"/>
                  <a:ea typeface="+mn-ea"/>
                  <a:cs typeface="+mn-cs"/>
                </a:defRPr>
              </a:lvl1pPr>
              <a:lvl2pPr marL="144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2pPr>
              <a:lvl3pPr marL="288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3pPr>
              <a:lvl4pPr marL="432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4pPr>
              <a:lvl5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5pPr>
              <a:lvl6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6pPr>
              <a:lvl7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7pPr>
              <a:lvl8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8pPr>
              <a:lvl9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9pPr>
            </a:lstStyle>
            <a:p>
              <a:pPr marL="285750" indent="-285750">
                <a:buFont typeface="Wingdings" panose="05000000000000000000" pitchFamily="2" charset="2"/>
                <a:buChar char="§"/>
              </a:pPr>
              <a:r>
                <a:rPr lang="de-DE" sz="1400" dirty="0"/>
                <a:t>Treffen notwendiger Projektentscheidungen</a:t>
              </a:r>
            </a:p>
            <a:p>
              <a:pPr marL="285750" indent="-285750">
                <a:buFont typeface="Wingdings" panose="05000000000000000000" pitchFamily="2" charset="2"/>
                <a:buChar char="§"/>
              </a:pPr>
              <a:r>
                <a:rPr lang="de-DE" sz="1400" dirty="0"/>
                <a:t>Verteilung notwendiger Arbeitsaufträge im Projektrahmen</a:t>
              </a:r>
            </a:p>
            <a:p>
              <a:pPr marL="285750" indent="-285750">
                <a:buFont typeface="Wingdings" panose="05000000000000000000" pitchFamily="2" charset="2"/>
                <a:buChar char="§"/>
              </a:pPr>
              <a:r>
                <a:rPr lang="de-DE" sz="1400" dirty="0"/>
                <a:t>Eskalation bei Bedarf</a:t>
              </a:r>
            </a:p>
            <a:p>
              <a:pPr marL="285750" indent="-285750">
                <a:buFont typeface="Wingdings" panose="05000000000000000000" pitchFamily="2" charset="2"/>
                <a:buChar char="§"/>
              </a:pPr>
              <a:r>
                <a:rPr lang="de-DE" sz="1400" dirty="0"/>
                <a:t>Abstimmung der Maßnahmen zur Vorstellung beim Betriebsrat</a:t>
              </a:r>
            </a:p>
          </p:txBody>
        </p:sp>
        <p:sp>
          <p:nvSpPr>
            <p:cNvPr id="55" name="Textplatzhalter 5">
              <a:extLst>
                <a:ext uri="{FF2B5EF4-FFF2-40B4-BE49-F238E27FC236}">
                  <a16:creationId xmlns:a16="http://schemas.microsoft.com/office/drawing/2014/main" id="{7A96488F-37BD-437D-AB4D-BFC174D54A61}"/>
                </a:ext>
              </a:extLst>
            </p:cNvPr>
            <p:cNvSpPr txBox="1">
              <a:spLocks/>
            </p:cNvSpPr>
            <p:nvPr/>
          </p:nvSpPr>
          <p:spPr>
            <a:xfrm>
              <a:off x="6958963" y="4460054"/>
              <a:ext cx="4895997" cy="430887"/>
            </a:xfrm>
            <a:prstGeom prst="rect">
              <a:avLst/>
            </a:prstGeom>
          </p:spPr>
          <p:txBody>
            <a:bodyPr vert="horz" wrap="square" lIns="0" tIns="0" rIns="0" bIns="0" rtlCol="0">
              <a:spAutoFit/>
            </a:bodyPr>
            <a:lstStyle>
              <a:lvl1pPr marL="0" indent="0" algn="l" defTabSz="914400" rtl="0" eaLnBrk="1" latinLnBrk="0" hangingPunct="1">
                <a:spcBef>
                  <a:spcPts val="0"/>
                </a:spcBef>
                <a:spcAft>
                  <a:spcPts val="0"/>
                </a:spcAft>
                <a:buFont typeface="Arial" pitchFamily="34" charset="0"/>
                <a:buNone/>
                <a:defRPr sz="1600" kern="1200">
                  <a:solidFill>
                    <a:schemeClr val="tx1"/>
                  </a:solidFill>
                  <a:latin typeface="+mn-lt"/>
                  <a:ea typeface="+mn-ea"/>
                  <a:cs typeface="+mn-cs"/>
                </a:defRPr>
              </a:lvl1pPr>
              <a:lvl2pPr marL="144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2pPr>
              <a:lvl3pPr marL="288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3pPr>
              <a:lvl4pPr marL="432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4pPr>
              <a:lvl5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5pPr>
              <a:lvl6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6pPr>
              <a:lvl7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7pPr>
              <a:lvl8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8pPr>
              <a:lvl9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9pPr>
            </a:lstStyle>
            <a:p>
              <a:pPr marL="285750" indent="-285750">
                <a:buFont typeface="Wingdings" panose="05000000000000000000" pitchFamily="2" charset="2"/>
                <a:buChar char="§"/>
              </a:pPr>
              <a:r>
                <a:rPr lang="de-DE" sz="1400" dirty="0"/>
                <a:t>Durchsetzung und ggf. Verhandlung abgestimmter Maßnahmen mit dem BR</a:t>
              </a:r>
            </a:p>
          </p:txBody>
        </p:sp>
        <p:sp>
          <p:nvSpPr>
            <p:cNvPr id="57" name="Textplatzhalter 5">
              <a:extLst>
                <a:ext uri="{FF2B5EF4-FFF2-40B4-BE49-F238E27FC236}">
                  <a16:creationId xmlns:a16="http://schemas.microsoft.com/office/drawing/2014/main" id="{9BDB8254-6D87-48A8-AE0F-1D65B4D290DA}"/>
                </a:ext>
              </a:extLst>
            </p:cNvPr>
            <p:cNvSpPr txBox="1">
              <a:spLocks/>
            </p:cNvSpPr>
            <p:nvPr/>
          </p:nvSpPr>
          <p:spPr>
            <a:xfrm>
              <a:off x="334962" y="4460054"/>
              <a:ext cx="1332000" cy="646331"/>
            </a:xfrm>
            <a:prstGeom prst="rect">
              <a:avLst/>
            </a:prstGeom>
          </p:spPr>
          <p:txBody>
            <a:bodyPr vert="horz" wrap="square" lIns="0" tIns="0" rIns="0" bIns="0" rtlCol="0">
              <a:spAutoFit/>
            </a:bodyPr>
            <a:lstStyle>
              <a:lvl1pPr marL="0" indent="0" algn="l" defTabSz="914400" rtl="0" eaLnBrk="1" latinLnBrk="0" hangingPunct="1">
                <a:spcBef>
                  <a:spcPts val="0"/>
                </a:spcBef>
                <a:spcAft>
                  <a:spcPts val="0"/>
                </a:spcAft>
                <a:buFont typeface="Arial" pitchFamily="34" charset="0"/>
                <a:buNone/>
                <a:defRPr sz="1600" kern="1200">
                  <a:solidFill>
                    <a:schemeClr val="tx1"/>
                  </a:solidFill>
                  <a:latin typeface="+mn-lt"/>
                  <a:ea typeface="+mn-ea"/>
                  <a:cs typeface="+mn-cs"/>
                </a:defRPr>
              </a:lvl1pPr>
              <a:lvl2pPr marL="144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2pPr>
              <a:lvl3pPr marL="288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3pPr>
              <a:lvl4pPr marL="432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4pPr>
              <a:lvl5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5pPr>
              <a:lvl6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6pPr>
              <a:lvl7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7pPr>
              <a:lvl8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8pPr>
              <a:lvl9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9pPr>
            </a:lstStyle>
            <a:p>
              <a:r>
                <a:rPr lang="de-DE" sz="1400" b="1" dirty="0"/>
                <a:t>Zielsetzung/</a:t>
              </a:r>
            </a:p>
            <a:p>
              <a:r>
                <a:rPr lang="de-DE" sz="1400" b="1" dirty="0"/>
                <a:t>Entscheidungs-befugnisse</a:t>
              </a:r>
            </a:p>
          </p:txBody>
        </p:sp>
      </p:grpSp>
      <p:sp>
        <p:nvSpPr>
          <p:cNvPr id="40" name="Rechteck 39">
            <a:extLst>
              <a:ext uri="{FF2B5EF4-FFF2-40B4-BE49-F238E27FC236}">
                <a16:creationId xmlns:a16="http://schemas.microsoft.com/office/drawing/2014/main" id="{8BE8FE6B-78FC-4954-9B4A-CA72E4B32240}"/>
              </a:ext>
            </a:extLst>
          </p:cNvPr>
          <p:cNvSpPr/>
          <p:nvPr/>
        </p:nvSpPr>
        <p:spPr>
          <a:xfrm>
            <a:off x="10954961" y="69705"/>
            <a:ext cx="900000" cy="252000"/>
          </a:xfrm>
          <a:prstGeom prst="rect">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b="1" dirty="0"/>
              <a:t>Entwurf</a:t>
            </a:r>
          </a:p>
        </p:txBody>
      </p:sp>
      <p:sp>
        <p:nvSpPr>
          <p:cNvPr id="43" name="Textfeld 42">
            <a:extLst>
              <a:ext uri="{FF2B5EF4-FFF2-40B4-BE49-F238E27FC236}">
                <a16:creationId xmlns:a16="http://schemas.microsoft.com/office/drawing/2014/main" id="{CB83760E-E5DC-4E32-AC7C-EEEF065A5BB9}"/>
              </a:ext>
            </a:extLst>
          </p:cNvPr>
          <p:cNvSpPr txBox="1"/>
          <p:nvPr/>
        </p:nvSpPr>
        <p:spPr>
          <a:xfrm>
            <a:off x="334963" y="6544666"/>
            <a:ext cx="1380506" cy="215444"/>
          </a:xfrm>
          <a:prstGeom prst="rect">
            <a:avLst/>
          </a:prstGeom>
          <a:noFill/>
        </p:spPr>
        <p:txBody>
          <a:bodyPr wrap="none" rtlCol="0" anchor="b">
            <a:spAutoFit/>
          </a:bodyPr>
          <a:lstStyle/>
          <a:p>
            <a:r>
              <a:rPr lang="de-DE" sz="800" dirty="0"/>
              <a:t>Quelle: Projektteam Phönix</a:t>
            </a:r>
          </a:p>
        </p:txBody>
      </p:sp>
    </p:spTree>
    <p:extLst>
      <p:ext uri="{BB962C8B-B14F-4D97-AF65-F5344CB8AC3E}">
        <p14:creationId xmlns:p14="http://schemas.microsoft.com/office/powerpoint/2010/main" val="176886707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98F9D998-4B8A-431F-9357-F3D5AEA5DC28}"/>
              </a:ext>
            </a:extLst>
          </p:cNvPr>
          <p:cNvGraphicFramePr>
            <a:graphicFrameLocks noChangeAspect="1"/>
          </p:cNvGraphicFramePr>
          <p:nvPr>
            <p:custDataLst>
              <p:tags r:id="rId1"/>
            </p:custDataLst>
            <p:extLst>
              <p:ext uri="{D42A27DB-BD31-4B8C-83A1-F6EECF244321}">
                <p14:modId xmlns:p14="http://schemas.microsoft.com/office/powerpoint/2010/main" val="5314760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25" imgH="426" progId="TCLayout.ActiveDocument.1">
                  <p:embed/>
                </p:oleObj>
              </mc:Choice>
              <mc:Fallback>
                <p:oleObj name="think-cell Folie" r:id="rId4" imgW="425" imgH="426" progId="TCLayout.ActiveDocument.1">
                  <p:embed/>
                  <p:pic>
                    <p:nvPicPr>
                      <p:cNvPr id="5" name="Objekt 4" hidden="1">
                        <a:extLst>
                          <a:ext uri="{FF2B5EF4-FFF2-40B4-BE49-F238E27FC236}">
                            <a16:creationId xmlns:a16="http://schemas.microsoft.com/office/drawing/2014/main" id="{98F9D998-4B8A-431F-9357-F3D5AEA5DC2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D6CA93DF-1875-4979-A283-56EBD09394A2}"/>
              </a:ext>
            </a:extLst>
          </p:cNvPr>
          <p:cNvSpPr>
            <a:spLocks noGrp="1"/>
          </p:cNvSpPr>
          <p:nvPr>
            <p:ph type="title"/>
          </p:nvPr>
        </p:nvSpPr>
        <p:spPr/>
        <p:txBody>
          <a:bodyPr vert="horz"/>
          <a:lstStyle/>
          <a:p>
            <a:r>
              <a:rPr lang="de-DE" dirty="0"/>
              <a:t>Regeltermine im Projekt</a:t>
            </a:r>
          </a:p>
        </p:txBody>
      </p:sp>
      <p:graphicFrame>
        <p:nvGraphicFramePr>
          <p:cNvPr id="4" name="Tabelle 3">
            <a:extLst>
              <a:ext uri="{FF2B5EF4-FFF2-40B4-BE49-F238E27FC236}">
                <a16:creationId xmlns:a16="http://schemas.microsoft.com/office/drawing/2014/main" id="{A255111F-496F-4798-A548-F91A1EEA191C}"/>
              </a:ext>
            </a:extLst>
          </p:cNvPr>
          <p:cNvGraphicFramePr>
            <a:graphicFrameLocks noGrp="1"/>
          </p:cNvGraphicFramePr>
          <p:nvPr>
            <p:custDataLst>
              <p:tags r:id="rId2"/>
            </p:custDataLst>
            <p:extLst>
              <p:ext uri="{D42A27DB-BD31-4B8C-83A1-F6EECF244321}">
                <p14:modId xmlns:p14="http://schemas.microsoft.com/office/powerpoint/2010/main" val="3278157991"/>
              </p:ext>
            </p:extLst>
          </p:nvPr>
        </p:nvGraphicFramePr>
        <p:xfrm>
          <a:off x="334963" y="1168528"/>
          <a:ext cx="11520001" cy="5148295"/>
        </p:xfrm>
        <a:graphic>
          <a:graphicData uri="http://schemas.openxmlformats.org/drawingml/2006/table">
            <a:tbl>
              <a:tblPr firstRow="1" bandRow="1">
                <a:effectLst/>
                <a:tableStyleId>{5C22544A-7EE6-4342-B048-85BDC9FD1C3A}</a:tableStyleId>
              </a:tblPr>
              <a:tblGrid>
                <a:gridCol w="1824067">
                  <a:extLst>
                    <a:ext uri="{9D8B030D-6E8A-4147-A177-3AD203B41FA5}">
                      <a16:colId xmlns:a16="http://schemas.microsoft.com/office/drawing/2014/main" val="20000"/>
                    </a:ext>
                  </a:extLst>
                </a:gridCol>
                <a:gridCol w="3231978">
                  <a:extLst>
                    <a:ext uri="{9D8B030D-6E8A-4147-A177-3AD203B41FA5}">
                      <a16:colId xmlns:a16="http://schemas.microsoft.com/office/drawing/2014/main" val="20001"/>
                    </a:ext>
                  </a:extLst>
                </a:gridCol>
                <a:gridCol w="3231978">
                  <a:extLst>
                    <a:ext uri="{9D8B030D-6E8A-4147-A177-3AD203B41FA5}">
                      <a16:colId xmlns:a16="http://schemas.microsoft.com/office/drawing/2014/main" val="20002"/>
                    </a:ext>
                  </a:extLst>
                </a:gridCol>
                <a:gridCol w="3231978">
                  <a:extLst>
                    <a:ext uri="{9D8B030D-6E8A-4147-A177-3AD203B41FA5}">
                      <a16:colId xmlns:a16="http://schemas.microsoft.com/office/drawing/2014/main" val="1705138830"/>
                    </a:ext>
                  </a:extLst>
                </a:gridCol>
              </a:tblGrid>
              <a:tr h="401271">
                <a:tc>
                  <a:txBody>
                    <a:bodyPr/>
                    <a:lstStyle/>
                    <a:p>
                      <a:pPr rtl="0">
                        <a:spcBef>
                          <a:spcPts val="0"/>
                        </a:spcBef>
                      </a:pPr>
                      <a:r>
                        <a:rPr lang="de-DE" sz="1400" b="1" noProof="0" dirty="0">
                          <a:solidFill>
                            <a:schemeClr val="tx1"/>
                          </a:solidFill>
                        </a:rPr>
                        <a:t>Name</a:t>
                      </a:r>
                    </a:p>
                  </a:txBody>
                  <a:tcPr marL="0" marR="54000" marT="72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lvl="1" indent="0" rtl="0">
                        <a:spcBef>
                          <a:spcPts val="200"/>
                        </a:spcBef>
                        <a:buFont typeface="Arial" panose="020B0604020202020204" pitchFamily="34" charset="0"/>
                        <a:buNone/>
                      </a:pPr>
                      <a:r>
                        <a:rPr lang="de-DE" sz="1400" b="1" noProof="0" dirty="0">
                          <a:solidFill>
                            <a:schemeClr val="tx1"/>
                          </a:solidFill>
                        </a:rPr>
                        <a:t>Daily</a:t>
                      </a:r>
                    </a:p>
                  </a:txBody>
                  <a:tcPr marL="0" marR="54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lvl="1" indent="0" rtl="0">
                        <a:spcBef>
                          <a:spcPts val="200"/>
                        </a:spcBef>
                        <a:buFont typeface="Arial" panose="020B0604020202020204" pitchFamily="34" charset="0"/>
                        <a:buNone/>
                      </a:pPr>
                      <a:r>
                        <a:rPr lang="de-DE" sz="1400" b="1" noProof="0" dirty="0">
                          <a:solidFill>
                            <a:schemeClr val="tx1"/>
                          </a:solidFill>
                        </a:rPr>
                        <a:t>Vorstellung Wochenergebnisse</a:t>
                      </a:r>
                    </a:p>
                  </a:txBody>
                  <a:tcPr marL="0" marR="54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lvl="1" indent="0" rtl="0">
                        <a:spcBef>
                          <a:spcPts val="200"/>
                        </a:spcBef>
                        <a:buFont typeface="Arial" panose="020B0604020202020204" pitchFamily="34" charset="0"/>
                        <a:buNone/>
                      </a:pPr>
                      <a:r>
                        <a:rPr lang="de-DE" sz="1400" b="1" noProof="0" dirty="0">
                          <a:solidFill>
                            <a:schemeClr val="tx1"/>
                          </a:solidFill>
                        </a:rPr>
                        <a:t>Steuerkreis</a:t>
                      </a:r>
                    </a:p>
                  </a:txBody>
                  <a:tcPr marL="0" marR="54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656310371"/>
                  </a:ext>
                </a:extLst>
              </a:tr>
              <a:tr h="688595">
                <a:tc>
                  <a:txBody>
                    <a:bodyPr/>
                    <a:lstStyle/>
                    <a:p>
                      <a:pPr rtl="0">
                        <a:spcBef>
                          <a:spcPts val="0"/>
                        </a:spcBef>
                      </a:pPr>
                      <a:r>
                        <a:rPr lang="de-DE" sz="1400" b="1" noProof="0" dirty="0">
                          <a:solidFill>
                            <a:schemeClr val="tx1"/>
                          </a:solidFill>
                        </a:rPr>
                        <a:t>Termin &amp; Dauer</a:t>
                      </a:r>
                    </a:p>
                  </a:txBody>
                  <a:tcPr marL="0" marR="54000" marT="72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lvl="1" indent="-171450" algn="l" defTabSz="914400" rtl="0" eaLnBrk="1" latinLnBrk="0" hangingPunct="1">
                        <a:spcBef>
                          <a:spcPts val="200"/>
                        </a:spcBef>
                        <a:buFont typeface="Wingdings" panose="05000000000000000000" pitchFamily="2" charset="2"/>
                        <a:buChar char="§"/>
                      </a:pPr>
                      <a:r>
                        <a:rPr lang="de-DE" sz="1200" kern="1200" noProof="0" dirty="0">
                          <a:solidFill>
                            <a:schemeClr val="tx1"/>
                          </a:solidFill>
                          <a:latin typeface="+mn-lt"/>
                          <a:ea typeface="+mn-ea"/>
                          <a:cs typeface="+mn-cs"/>
                        </a:rPr>
                        <a:t>Montags, 10.00 – 10.30</a:t>
                      </a:r>
                    </a:p>
                    <a:p>
                      <a:pPr marL="171450" lvl="1" indent="-171450" algn="l" defTabSz="914400" rtl="0" eaLnBrk="1" latinLnBrk="0" hangingPunct="1">
                        <a:spcBef>
                          <a:spcPts val="200"/>
                        </a:spcBef>
                        <a:buFont typeface="Wingdings" panose="05000000000000000000" pitchFamily="2" charset="2"/>
                        <a:buChar char="§"/>
                      </a:pPr>
                      <a:r>
                        <a:rPr lang="de-DE" sz="1200" kern="1200" noProof="0" dirty="0">
                          <a:solidFill>
                            <a:schemeClr val="tx1"/>
                          </a:solidFill>
                          <a:latin typeface="+mn-lt"/>
                          <a:ea typeface="+mn-ea"/>
                          <a:cs typeface="+mn-cs"/>
                        </a:rPr>
                        <a:t>Di. – Fr. , 09.00 – 09.30</a:t>
                      </a:r>
                    </a:p>
                  </a:txBody>
                  <a:tcPr marL="0" marR="54000" marT="72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lvl="1" indent="-171450" algn="l" defTabSz="914400" rtl="0" eaLnBrk="1" latinLnBrk="0" hangingPunct="1">
                        <a:spcBef>
                          <a:spcPts val="200"/>
                        </a:spcBef>
                        <a:buFont typeface="Wingdings" panose="05000000000000000000" pitchFamily="2" charset="2"/>
                        <a:buChar char="§"/>
                      </a:pPr>
                      <a:r>
                        <a:rPr lang="de-DE" sz="1200" kern="1200" noProof="0" dirty="0">
                          <a:solidFill>
                            <a:schemeClr val="tx1"/>
                          </a:solidFill>
                          <a:latin typeface="+mn-lt"/>
                          <a:ea typeface="+mn-ea"/>
                          <a:cs typeface="+mn-cs"/>
                        </a:rPr>
                        <a:t>Donnerstags, 15.00 – 16.00</a:t>
                      </a:r>
                    </a:p>
                  </a:txBody>
                  <a:tcPr marL="0" marR="54000" marT="72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lvl="1" indent="-171450" algn="l" defTabSz="914400" rtl="0" eaLnBrk="1" latinLnBrk="0" hangingPunct="1">
                        <a:spcBef>
                          <a:spcPts val="200"/>
                        </a:spcBef>
                        <a:buFont typeface="Wingdings" panose="05000000000000000000" pitchFamily="2" charset="2"/>
                        <a:buChar char="§"/>
                      </a:pPr>
                      <a:r>
                        <a:rPr lang="de-DE" sz="1200" kern="1200" noProof="0" dirty="0">
                          <a:solidFill>
                            <a:schemeClr val="tx1"/>
                          </a:solidFill>
                          <a:latin typeface="+mn-lt"/>
                          <a:ea typeface="+mn-ea"/>
                          <a:cs typeface="+mn-cs"/>
                        </a:rPr>
                        <a:t>Gemäß Termin</a:t>
                      </a:r>
                    </a:p>
                    <a:p>
                      <a:pPr marL="171450" lvl="1" indent="-171450" algn="l" defTabSz="914400" rtl="0" eaLnBrk="1" latinLnBrk="0" hangingPunct="1">
                        <a:spcBef>
                          <a:spcPts val="200"/>
                        </a:spcBef>
                        <a:buFont typeface="Wingdings" panose="05000000000000000000" pitchFamily="2" charset="2"/>
                        <a:buChar char="§"/>
                      </a:pPr>
                      <a:r>
                        <a:rPr lang="de-DE" sz="1200" kern="1200" noProof="0" dirty="0">
                          <a:solidFill>
                            <a:schemeClr val="tx1"/>
                          </a:solidFill>
                          <a:latin typeface="+mn-lt"/>
                          <a:ea typeface="+mn-ea"/>
                          <a:cs typeface="+mn-cs"/>
                        </a:rPr>
                        <a:t>Alle 8 Wochen</a:t>
                      </a:r>
                    </a:p>
                  </a:txBody>
                  <a:tcPr marL="0" marR="54000" marT="72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828079071"/>
                  </a:ext>
                </a:extLst>
              </a:tr>
              <a:tr h="1333837">
                <a:tc>
                  <a:txBody>
                    <a:bodyPr/>
                    <a:lstStyle/>
                    <a:p>
                      <a:pPr rtl="0">
                        <a:spcBef>
                          <a:spcPts val="0"/>
                        </a:spcBef>
                      </a:pPr>
                      <a:r>
                        <a:rPr lang="de-DE" sz="1400" b="1" noProof="0" dirty="0">
                          <a:solidFill>
                            <a:schemeClr val="tx1"/>
                          </a:solidFill>
                        </a:rPr>
                        <a:t>Teilnehmer</a:t>
                      </a:r>
                    </a:p>
                  </a:txBody>
                  <a:tcPr marL="0" marR="54000" marT="72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lvl="1" indent="-171450" algn="l" defTabSz="914400" rtl="0" eaLnBrk="1" latinLnBrk="0" hangingPunct="1">
                        <a:spcBef>
                          <a:spcPts val="200"/>
                        </a:spcBef>
                        <a:buFont typeface="Wingdings" panose="05000000000000000000" pitchFamily="2" charset="2"/>
                        <a:buChar char="§"/>
                      </a:pPr>
                      <a:r>
                        <a:rPr lang="de-DE" sz="1200" kern="1200" noProof="0" dirty="0">
                          <a:solidFill>
                            <a:schemeClr val="tx1"/>
                          </a:solidFill>
                          <a:latin typeface="+mn-lt"/>
                          <a:ea typeface="+mn-ea"/>
                          <a:cs typeface="+mn-cs"/>
                        </a:rPr>
                        <a:t>Projektleiter</a:t>
                      </a:r>
                    </a:p>
                    <a:p>
                      <a:pPr marL="171450" lvl="1" indent="-171450" algn="l" defTabSz="914400" rtl="0" eaLnBrk="1" latinLnBrk="0" hangingPunct="1">
                        <a:spcBef>
                          <a:spcPts val="200"/>
                        </a:spcBef>
                        <a:buFont typeface="Wingdings" panose="05000000000000000000" pitchFamily="2" charset="2"/>
                        <a:buChar char="§"/>
                      </a:pPr>
                      <a:r>
                        <a:rPr lang="de-DE" sz="1200" kern="1200" noProof="0" dirty="0">
                          <a:solidFill>
                            <a:schemeClr val="tx1"/>
                          </a:solidFill>
                          <a:latin typeface="+mn-lt"/>
                          <a:ea typeface="+mn-ea"/>
                          <a:cs typeface="+mn-cs"/>
                        </a:rPr>
                        <a:t>Teilprojektleiter</a:t>
                      </a:r>
                    </a:p>
                    <a:p>
                      <a:pPr marL="171450" lvl="1" indent="-171450" algn="l" defTabSz="914400" rtl="0" eaLnBrk="1" latinLnBrk="0" hangingPunct="1">
                        <a:spcBef>
                          <a:spcPts val="200"/>
                        </a:spcBef>
                        <a:buFont typeface="Wingdings" panose="05000000000000000000" pitchFamily="2" charset="2"/>
                        <a:buChar char="§"/>
                      </a:pPr>
                      <a:r>
                        <a:rPr lang="de-DE" sz="1200" kern="1200" noProof="0" dirty="0">
                          <a:solidFill>
                            <a:schemeClr val="tx1"/>
                          </a:solidFill>
                          <a:latin typeface="+mn-lt"/>
                          <a:ea typeface="+mn-ea"/>
                          <a:cs typeface="+mn-cs"/>
                        </a:rPr>
                        <a:t>PMO</a:t>
                      </a:r>
                    </a:p>
                    <a:p>
                      <a:pPr marL="171450" lvl="1" indent="-171450" algn="l" defTabSz="914400" rtl="0" eaLnBrk="1" latinLnBrk="0" hangingPunct="1">
                        <a:spcBef>
                          <a:spcPts val="200"/>
                        </a:spcBef>
                        <a:buFont typeface="Wingdings" panose="05000000000000000000" pitchFamily="2" charset="2"/>
                        <a:buChar char="§"/>
                      </a:pPr>
                      <a:r>
                        <a:rPr lang="de-DE" sz="1200" kern="1200" noProof="0" dirty="0">
                          <a:solidFill>
                            <a:schemeClr val="tx1"/>
                          </a:solidFill>
                          <a:latin typeface="+mn-lt"/>
                          <a:ea typeface="+mn-ea"/>
                          <a:cs typeface="+mn-cs"/>
                        </a:rPr>
                        <a:t>Projektmitarbeiter</a:t>
                      </a:r>
                    </a:p>
                  </a:txBody>
                  <a:tcPr marL="0" marR="54000" marT="72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lvl="1" indent="-171450" algn="l" defTabSz="914400" rtl="0" eaLnBrk="1" latinLnBrk="0" hangingPunct="1">
                        <a:spcBef>
                          <a:spcPts val="200"/>
                        </a:spcBef>
                        <a:buFont typeface="Wingdings" panose="05000000000000000000" pitchFamily="2" charset="2"/>
                        <a:buChar char="§"/>
                      </a:pPr>
                      <a:r>
                        <a:rPr lang="de-DE" sz="1200" kern="1200" noProof="0" dirty="0">
                          <a:solidFill>
                            <a:schemeClr val="tx1"/>
                          </a:solidFill>
                          <a:latin typeface="+mn-lt"/>
                          <a:ea typeface="+mn-ea"/>
                          <a:cs typeface="+mn-cs"/>
                        </a:rPr>
                        <a:t>Projektleiter</a:t>
                      </a:r>
                    </a:p>
                    <a:p>
                      <a:pPr marL="171450" lvl="1" indent="-171450" algn="l" defTabSz="914400" rtl="0" eaLnBrk="1" latinLnBrk="0" hangingPunct="1">
                        <a:spcBef>
                          <a:spcPts val="200"/>
                        </a:spcBef>
                        <a:buFont typeface="Wingdings" panose="05000000000000000000" pitchFamily="2" charset="2"/>
                        <a:buChar char="§"/>
                      </a:pPr>
                      <a:r>
                        <a:rPr lang="de-DE" sz="1200" kern="1200" noProof="0" dirty="0">
                          <a:solidFill>
                            <a:schemeClr val="tx1"/>
                          </a:solidFill>
                          <a:latin typeface="+mn-lt"/>
                          <a:ea typeface="+mn-ea"/>
                          <a:cs typeface="+mn-cs"/>
                        </a:rPr>
                        <a:t>Teilprojektleiter</a:t>
                      </a:r>
                    </a:p>
                    <a:p>
                      <a:pPr marL="171450" lvl="1" indent="-171450" algn="l" defTabSz="914400" rtl="0" eaLnBrk="1" latinLnBrk="0" hangingPunct="1">
                        <a:spcBef>
                          <a:spcPts val="200"/>
                        </a:spcBef>
                        <a:buFont typeface="Wingdings" panose="05000000000000000000" pitchFamily="2" charset="2"/>
                        <a:buChar char="§"/>
                      </a:pPr>
                      <a:r>
                        <a:rPr lang="de-DE" sz="1200" kern="1200" noProof="0" dirty="0">
                          <a:solidFill>
                            <a:schemeClr val="tx1"/>
                          </a:solidFill>
                          <a:latin typeface="+mn-lt"/>
                          <a:ea typeface="+mn-ea"/>
                          <a:cs typeface="+mn-cs"/>
                        </a:rPr>
                        <a:t>PMO</a:t>
                      </a:r>
                    </a:p>
                    <a:p>
                      <a:pPr marL="171450" lvl="1" indent="-171450" algn="l" defTabSz="914400" rtl="0" eaLnBrk="1" latinLnBrk="0" hangingPunct="1">
                        <a:spcBef>
                          <a:spcPts val="200"/>
                        </a:spcBef>
                        <a:buFont typeface="Wingdings" panose="05000000000000000000" pitchFamily="2" charset="2"/>
                        <a:buChar char="§"/>
                      </a:pPr>
                      <a:r>
                        <a:rPr lang="de-DE" sz="1200" kern="1200" noProof="0" dirty="0">
                          <a:solidFill>
                            <a:schemeClr val="tx1"/>
                          </a:solidFill>
                          <a:latin typeface="+mn-lt"/>
                          <a:ea typeface="+mn-ea"/>
                          <a:cs typeface="+mn-cs"/>
                        </a:rPr>
                        <a:t>C&amp;C</a:t>
                      </a:r>
                    </a:p>
                  </a:txBody>
                  <a:tcPr marL="0" marR="54000" marT="72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lvl="1" indent="-171450" algn="l" defTabSz="914400" rtl="0" eaLnBrk="1" latinLnBrk="0" hangingPunct="1">
                        <a:spcBef>
                          <a:spcPts val="200"/>
                        </a:spcBef>
                        <a:buFont typeface="Wingdings" panose="05000000000000000000" pitchFamily="2" charset="2"/>
                        <a:buChar char="§"/>
                      </a:pPr>
                      <a:r>
                        <a:rPr lang="de-DE" sz="1200" kern="1200" noProof="0" dirty="0">
                          <a:solidFill>
                            <a:schemeClr val="tx1"/>
                          </a:solidFill>
                          <a:latin typeface="+mn-lt"/>
                          <a:ea typeface="+mn-ea"/>
                          <a:cs typeface="+mn-cs"/>
                        </a:rPr>
                        <a:t>Steuerkreisteilnehmer</a:t>
                      </a:r>
                    </a:p>
                    <a:p>
                      <a:pPr marL="171450" lvl="1" indent="-171450" algn="l" defTabSz="914400" rtl="0" eaLnBrk="1" latinLnBrk="0" hangingPunct="1">
                        <a:spcBef>
                          <a:spcPts val="200"/>
                        </a:spcBef>
                        <a:buFont typeface="Wingdings" panose="05000000000000000000" pitchFamily="2" charset="2"/>
                        <a:buChar char="§"/>
                      </a:pPr>
                      <a:r>
                        <a:rPr lang="de-DE" sz="1200" kern="1200" noProof="0" dirty="0">
                          <a:solidFill>
                            <a:schemeClr val="tx1"/>
                          </a:solidFill>
                          <a:latin typeface="+mn-lt"/>
                          <a:ea typeface="+mn-ea"/>
                          <a:cs typeface="+mn-cs"/>
                        </a:rPr>
                        <a:t>Projektleiter</a:t>
                      </a:r>
                    </a:p>
                    <a:p>
                      <a:pPr marL="171450" lvl="1" indent="-171450" algn="l" defTabSz="914400" rtl="0" eaLnBrk="1" latinLnBrk="0" hangingPunct="1">
                        <a:spcBef>
                          <a:spcPts val="200"/>
                        </a:spcBef>
                        <a:buFont typeface="Wingdings" panose="05000000000000000000" pitchFamily="2" charset="2"/>
                        <a:buChar char="§"/>
                      </a:pPr>
                      <a:r>
                        <a:rPr lang="de-DE" sz="1200" kern="1200" noProof="0" dirty="0">
                          <a:solidFill>
                            <a:schemeClr val="tx1"/>
                          </a:solidFill>
                          <a:latin typeface="+mn-lt"/>
                          <a:ea typeface="+mn-ea"/>
                          <a:cs typeface="+mn-cs"/>
                        </a:rPr>
                        <a:t>Teilprojektleiter</a:t>
                      </a:r>
                    </a:p>
                    <a:p>
                      <a:pPr marL="171450" lvl="1" indent="-171450" algn="l" defTabSz="914400" rtl="0" eaLnBrk="1" latinLnBrk="0" hangingPunct="1">
                        <a:spcBef>
                          <a:spcPts val="200"/>
                        </a:spcBef>
                        <a:buFont typeface="Wingdings" panose="05000000000000000000" pitchFamily="2" charset="2"/>
                        <a:buChar char="§"/>
                      </a:pPr>
                      <a:r>
                        <a:rPr lang="de-DE" sz="1200" kern="1200" noProof="0" dirty="0">
                          <a:solidFill>
                            <a:schemeClr val="tx1"/>
                          </a:solidFill>
                          <a:latin typeface="+mn-lt"/>
                          <a:ea typeface="+mn-ea"/>
                          <a:cs typeface="+mn-cs"/>
                        </a:rPr>
                        <a:t>PMO-Leiter</a:t>
                      </a:r>
                    </a:p>
                    <a:p>
                      <a:pPr marL="171450" lvl="1" indent="-171450" algn="l" defTabSz="914400" rtl="0" eaLnBrk="1" latinLnBrk="0" hangingPunct="1">
                        <a:spcBef>
                          <a:spcPts val="200"/>
                        </a:spcBef>
                        <a:buFont typeface="Wingdings" panose="05000000000000000000" pitchFamily="2" charset="2"/>
                        <a:buChar char="§"/>
                      </a:pPr>
                      <a:r>
                        <a:rPr lang="de-DE" sz="1200" kern="1200" noProof="0" dirty="0">
                          <a:solidFill>
                            <a:schemeClr val="tx1"/>
                          </a:solidFill>
                          <a:latin typeface="+mn-lt"/>
                          <a:ea typeface="+mn-ea"/>
                          <a:cs typeface="+mn-cs"/>
                        </a:rPr>
                        <a:t>Leiter C&amp;C</a:t>
                      </a:r>
                    </a:p>
                  </a:txBody>
                  <a:tcPr marL="0" marR="54000" marT="72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37681067"/>
                  </a:ext>
                </a:extLst>
              </a:tr>
              <a:tr h="742936">
                <a:tc>
                  <a:txBody>
                    <a:bodyPr/>
                    <a:lstStyle/>
                    <a:p>
                      <a:pPr rtl="0">
                        <a:spcBef>
                          <a:spcPts val="0"/>
                        </a:spcBef>
                      </a:pPr>
                      <a:r>
                        <a:rPr lang="de-DE" sz="1400" b="1" noProof="0" dirty="0">
                          <a:solidFill>
                            <a:schemeClr val="tx1"/>
                          </a:solidFill>
                        </a:rPr>
                        <a:t>Ort</a:t>
                      </a:r>
                    </a:p>
                  </a:txBody>
                  <a:tcPr marL="0" marR="54000" marT="72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lvl="1" indent="-171450" algn="l" defTabSz="914400" rtl="0" eaLnBrk="1" latinLnBrk="0" hangingPunct="1">
                        <a:spcBef>
                          <a:spcPts val="200"/>
                        </a:spcBef>
                        <a:buFont typeface="Wingdings" panose="05000000000000000000" pitchFamily="2" charset="2"/>
                        <a:buChar char="§"/>
                      </a:pPr>
                      <a:r>
                        <a:rPr lang="de-DE" sz="1200" kern="1200" noProof="0" dirty="0">
                          <a:solidFill>
                            <a:schemeClr val="tx1"/>
                          </a:solidFill>
                          <a:latin typeface="+mn-lt"/>
                          <a:ea typeface="+mn-ea"/>
                          <a:cs typeface="+mn-cs"/>
                        </a:rPr>
                        <a:t>Projektraum Nr. 312</a:t>
                      </a:r>
                    </a:p>
                    <a:p>
                      <a:pPr marL="171450" lvl="1" indent="-171450" algn="l" defTabSz="914400" rtl="0" eaLnBrk="1" latinLnBrk="0" hangingPunct="1">
                        <a:spcBef>
                          <a:spcPts val="200"/>
                        </a:spcBef>
                        <a:buFont typeface="Wingdings" panose="05000000000000000000" pitchFamily="2" charset="2"/>
                        <a:buChar char="§"/>
                      </a:pPr>
                      <a:r>
                        <a:rPr lang="de-DE" sz="1200" kern="1200" noProof="0" dirty="0">
                          <a:solidFill>
                            <a:schemeClr val="tx1"/>
                          </a:solidFill>
                          <a:latin typeface="+mn-lt"/>
                          <a:ea typeface="+mn-ea"/>
                          <a:cs typeface="+mn-cs"/>
                        </a:rPr>
                        <a:t>Zusätzlich MS Teams (Remote)</a:t>
                      </a:r>
                    </a:p>
                  </a:txBody>
                  <a:tcPr marL="0" marR="54000" marT="72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lvl="1" indent="-171450" algn="l" defTabSz="914400" rtl="0" eaLnBrk="1" latinLnBrk="0" hangingPunct="1">
                        <a:spcBef>
                          <a:spcPts val="200"/>
                        </a:spcBef>
                        <a:buFont typeface="Wingdings" panose="05000000000000000000" pitchFamily="2" charset="2"/>
                        <a:buChar char="§"/>
                      </a:pPr>
                      <a:r>
                        <a:rPr lang="de-DE" sz="1200" kern="1200" noProof="0" dirty="0">
                          <a:solidFill>
                            <a:schemeClr val="tx1"/>
                          </a:solidFill>
                          <a:latin typeface="+mn-lt"/>
                          <a:ea typeface="+mn-ea"/>
                          <a:cs typeface="+mn-cs"/>
                        </a:rPr>
                        <a:t>Besprechungsraum Nr. 543</a:t>
                      </a:r>
                    </a:p>
                    <a:p>
                      <a:pPr marL="171450" lvl="1" indent="-171450" algn="l" defTabSz="914400" rtl="0" eaLnBrk="1" latinLnBrk="0" hangingPunct="1">
                        <a:spcBef>
                          <a:spcPts val="200"/>
                        </a:spcBef>
                        <a:buFont typeface="Wingdings" panose="05000000000000000000" pitchFamily="2" charset="2"/>
                        <a:buChar char="§"/>
                      </a:pPr>
                      <a:r>
                        <a:rPr lang="de-DE" sz="1200" kern="1200" noProof="0" dirty="0">
                          <a:solidFill>
                            <a:schemeClr val="tx1"/>
                          </a:solidFill>
                          <a:latin typeface="+mn-lt"/>
                          <a:ea typeface="+mn-ea"/>
                          <a:cs typeface="+mn-cs"/>
                        </a:rPr>
                        <a:t>Zusätzlich MS Teams (Remote)</a:t>
                      </a:r>
                    </a:p>
                  </a:txBody>
                  <a:tcPr marL="0" marR="54000" marT="72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lvl="1" indent="-171450" algn="l" defTabSz="914400" rtl="0" eaLnBrk="1" latinLnBrk="0" hangingPunct="1">
                        <a:spcBef>
                          <a:spcPts val="200"/>
                        </a:spcBef>
                        <a:buFont typeface="Wingdings" panose="05000000000000000000" pitchFamily="2" charset="2"/>
                        <a:buChar char="§"/>
                      </a:pPr>
                      <a:r>
                        <a:rPr lang="de-DE" sz="1200" kern="1200" noProof="0" dirty="0">
                          <a:solidFill>
                            <a:schemeClr val="tx1"/>
                          </a:solidFill>
                          <a:latin typeface="+mn-lt"/>
                          <a:ea typeface="+mn-ea"/>
                          <a:cs typeface="+mn-cs"/>
                        </a:rPr>
                        <a:t>Besprechungsraum tbd</a:t>
                      </a:r>
                    </a:p>
                    <a:p>
                      <a:pPr marL="171450" lvl="1" indent="-171450" algn="l" defTabSz="914400" rtl="0" eaLnBrk="1" latinLnBrk="0" hangingPunct="1">
                        <a:spcBef>
                          <a:spcPts val="200"/>
                        </a:spcBef>
                        <a:buFont typeface="Wingdings" panose="05000000000000000000" pitchFamily="2" charset="2"/>
                        <a:buChar char="§"/>
                      </a:pPr>
                      <a:r>
                        <a:rPr lang="de-DE" sz="1200" kern="1200" noProof="0" dirty="0">
                          <a:solidFill>
                            <a:schemeClr val="tx1"/>
                          </a:solidFill>
                          <a:latin typeface="+mn-lt"/>
                          <a:ea typeface="+mn-ea"/>
                          <a:cs typeface="+mn-cs"/>
                        </a:rPr>
                        <a:t>Zusätzlich MS Teams (Remote)</a:t>
                      </a:r>
                    </a:p>
                  </a:txBody>
                  <a:tcPr marL="0" marR="54000" marT="72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271140200"/>
                  </a:ext>
                </a:extLst>
              </a:tr>
              <a:tr h="718414">
                <a:tc>
                  <a:txBody>
                    <a:bodyPr/>
                    <a:lstStyle/>
                    <a:p>
                      <a:pPr rtl="0">
                        <a:spcBef>
                          <a:spcPts val="0"/>
                        </a:spcBef>
                      </a:pPr>
                      <a:r>
                        <a:rPr lang="de-DE" sz="1400" b="1" noProof="0" dirty="0">
                          <a:solidFill>
                            <a:schemeClr val="tx1"/>
                          </a:solidFill>
                        </a:rPr>
                        <a:t>Zielsetzung</a:t>
                      </a:r>
                    </a:p>
                  </a:txBody>
                  <a:tcPr marL="0" marR="54000" marT="72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lvl="1" indent="-171450" algn="l" defTabSz="914400" rtl="0" eaLnBrk="1" latinLnBrk="0" hangingPunct="1">
                        <a:spcBef>
                          <a:spcPts val="200"/>
                        </a:spcBef>
                        <a:buFont typeface="Wingdings" panose="05000000000000000000" pitchFamily="2" charset="2"/>
                        <a:buChar char="§"/>
                      </a:pPr>
                      <a:r>
                        <a:rPr lang="de-DE" sz="1200" kern="1200" noProof="0" dirty="0">
                          <a:solidFill>
                            <a:schemeClr val="tx1"/>
                          </a:solidFill>
                          <a:latin typeface="+mn-lt"/>
                          <a:ea typeface="+mn-ea"/>
                          <a:cs typeface="+mn-cs"/>
                        </a:rPr>
                        <a:t>Operative Arbeit, nächste Schritte und Risiken abstimmen</a:t>
                      </a:r>
                    </a:p>
                  </a:txBody>
                  <a:tcPr marL="0" marR="54000" marT="72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lvl="1" indent="-171450" algn="l" defTabSz="914400" rtl="0" eaLnBrk="1" latinLnBrk="0" hangingPunct="1">
                        <a:spcBef>
                          <a:spcPts val="200"/>
                        </a:spcBef>
                        <a:buFont typeface="Wingdings" panose="05000000000000000000" pitchFamily="2" charset="2"/>
                        <a:buChar char="§"/>
                      </a:pPr>
                      <a:r>
                        <a:rPr lang="de-DE" sz="1200" kern="1200" noProof="0" dirty="0">
                          <a:solidFill>
                            <a:schemeClr val="tx1"/>
                          </a:solidFill>
                          <a:latin typeface="+mn-lt"/>
                          <a:ea typeface="+mn-ea"/>
                          <a:cs typeface="+mn-cs"/>
                        </a:rPr>
                        <a:t>Wochenergebnisse abstimmen</a:t>
                      </a:r>
                    </a:p>
                    <a:p>
                      <a:pPr marL="171450" lvl="1" indent="-171450" algn="l" defTabSz="914400" rtl="0" eaLnBrk="1" latinLnBrk="0" hangingPunct="1">
                        <a:spcBef>
                          <a:spcPts val="200"/>
                        </a:spcBef>
                        <a:buFont typeface="Wingdings" panose="05000000000000000000" pitchFamily="2" charset="2"/>
                        <a:buChar char="§"/>
                      </a:pPr>
                      <a:r>
                        <a:rPr lang="de-DE" sz="1200" kern="1200" noProof="0" dirty="0">
                          <a:solidFill>
                            <a:schemeClr val="tx1"/>
                          </a:solidFill>
                          <a:latin typeface="+mn-lt"/>
                          <a:ea typeface="+mn-ea"/>
                          <a:cs typeface="+mn-cs"/>
                        </a:rPr>
                        <a:t>Projekt-Reporting abstimmen</a:t>
                      </a:r>
                    </a:p>
                  </a:txBody>
                  <a:tcPr marL="0" marR="54000" marT="72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lvl="1" indent="-171450" algn="l" defTabSz="914400" rtl="0" eaLnBrk="1" latinLnBrk="0" hangingPunct="1">
                        <a:spcBef>
                          <a:spcPts val="200"/>
                        </a:spcBef>
                        <a:buFont typeface="Wingdings" panose="05000000000000000000" pitchFamily="2" charset="2"/>
                        <a:buChar char="§"/>
                      </a:pPr>
                      <a:r>
                        <a:rPr lang="de-DE" sz="1200" kern="1200" noProof="0" dirty="0">
                          <a:solidFill>
                            <a:schemeClr val="tx1"/>
                          </a:solidFill>
                          <a:latin typeface="+mn-lt"/>
                          <a:ea typeface="+mn-ea"/>
                          <a:cs typeface="+mn-cs"/>
                        </a:rPr>
                        <a:t>Notwendige Entscheidungen im Projekt erhalten</a:t>
                      </a:r>
                    </a:p>
                  </a:txBody>
                  <a:tcPr marL="0" marR="54000" marT="72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63726347"/>
                  </a:ext>
                </a:extLst>
              </a:tr>
              <a:tr h="1263242">
                <a:tc>
                  <a:txBody>
                    <a:bodyPr/>
                    <a:lstStyle/>
                    <a:p>
                      <a:pPr rtl="0">
                        <a:spcBef>
                          <a:spcPts val="0"/>
                        </a:spcBef>
                      </a:pPr>
                      <a:r>
                        <a:rPr lang="de-DE" sz="1400" b="1" noProof="0" dirty="0">
                          <a:solidFill>
                            <a:schemeClr val="tx1"/>
                          </a:solidFill>
                        </a:rPr>
                        <a:t>Agenda</a:t>
                      </a:r>
                    </a:p>
                  </a:txBody>
                  <a:tcPr marL="0" marR="54000" marT="72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lvl="1" indent="-171450" algn="l" defTabSz="914400" rtl="0" eaLnBrk="1" latinLnBrk="0" hangingPunct="1">
                        <a:spcBef>
                          <a:spcPts val="200"/>
                        </a:spcBef>
                        <a:buFont typeface="Wingdings" panose="05000000000000000000" pitchFamily="2" charset="2"/>
                        <a:buChar char="§"/>
                      </a:pPr>
                      <a:r>
                        <a:rPr lang="de-DE" sz="1200" kern="1200" noProof="0" dirty="0">
                          <a:solidFill>
                            <a:schemeClr val="tx1"/>
                          </a:solidFill>
                          <a:latin typeface="+mn-lt"/>
                          <a:ea typeface="+mn-ea"/>
                          <a:cs typeface="+mn-cs"/>
                        </a:rPr>
                        <a:t>Projektfortschritt darstellen</a:t>
                      </a:r>
                    </a:p>
                    <a:p>
                      <a:pPr marL="171450" lvl="1" indent="-171450" algn="l" defTabSz="914400" rtl="0" eaLnBrk="1" latinLnBrk="0" hangingPunct="1">
                        <a:spcBef>
                          <a:spcPts val="200"/>
                        </a:spcBef>
                        <a:buFont typeface="Wingdings" panose="05000000000000000000" pitchFamily="2" charset="2"/>
                        <a:buChar char="§"/>
                      </a:pPr>
                      <a:r>
                        <a:rPr lang="de-DE" sz="1200" kern="1200" noProof="0" dirty="0">
                          <a:solidFill>
                            <a:schemeClr val="tx1"/>
                          </a:solidFill>
                          <a:latin typeface="+mn-lt"/>
                          <a:ea typeface="+mn-ea"/>
                          <a:cs typeface="+mn-cs"/>
                        </a:rPr>
                        <a:t>Geplante Aktivitäten anzeigen</a:t>
                      </a:r>
                    </a:p>
                    <a:p>
                      <a:pPr marL="171450" lvl="1" indent="-171450" algn="l" defTabSz="914400" rtl="0" eaLnBrk="1" latinLnBrk="0" hangingPunct="1">
                        <a:spcBef>
                          <a:spcPts val="200"/>
                        </a:spcBef>
                        <a:buFont typeface="Wingdings" panose="05000000000000000000" pitchFamily="2" charset="2"/>
                        <a:buChar char="§"/>
                      </a:pPr>
                      <a:r>
                        <a:rPr lang="de-DE" sz="1200" kern="1200" noProof="0" dirty="0">
                          <a:solidFill>
                            <a:schemeClr val="tx1"/>
                          </a:solidFill>
                          <a:latin typeface="+mn-lt"/>
                          <a:ea typeface="+mn-ea"/>
                          <a:cs typeface="+mn-cs"/>
                        </a:rPr>
                        <a:t>Aktuelle Risiken/ Hindernisse aufzeigen</a:t>
                      </a:r>
                    </a:p>
                    <a:p>
                      <a:pPr marL="171450" lvl="1" indent="-171450" algn="l" defTabSz="914400" rtl="0" eaLnBrk="1" latinLnBrk="0" hangingPunct="1">
                        <a:spcBef>
                          <a:spcPts val="200"/>
                        </a:spcBef>
                        <a:buFont typeface="Wingdings" panose="05000000000000000000" pitchFamily="2" charset="2"/>
                        <a:buChar char="§"/>
                      </a:pPr>
                      <a:r>
                        <a:rPr lang="de-DE" sz="1200" kern="1200" noProof="0" dirty="0">
                          <a:solidFill>
                            <a:schemeClr val="tx1"/>
                          </a:solidFill>
                          <a:latin typeface="+mn-lt"/>
                          <a:ea typeface="+mn-ea"/>
                          <a:cs typeface="+mn-cs"/>
                        </a:rPr>
                        <a:t>Notwendige Entscheidungen abstimmen</a:t>
                      </a:r>
                    </a:p>
                  </a:txBody>
                  <a:tcPr marL="0" marR="54000" marT="72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lvl="1" indent="-171450" algn="l" defTabSz="914400" rtl="0" eaLnBrk="1" latinLnBrk="0" hangingPunct="1">
                        <a:spcBef>
                          <a:spcPts val="200"/>
                        </a:spcBef>
                        <a:buFont typeface="Wingdings" panose="05000000000000000000" pitchFamily="2" charset="2"/>
                        <a:buChar char="§"/>
                      </a:pPr>
                      <a:r>
                        <a:rPr lang="de-DE" sz="1200" kern="1200" noProof="0" dirty="0">
                          <a:solidFill>
                            <a:schemeClr val="tx1"/>
                          </a:solidFill>
                          <a:latin typeface="+mn-lt"/>
                          <a:ea typeface="+mn-ea"/>
                          <a:cs typeface="+mn-cs"/>
                        </a:rPr>
                        <a:t>Teilprojekt anhand PMO-Template vorstellen</a:t>
                      </a:r>
                    </a:p>
                    <a:p>
                      <a:pPr marL="171450" lvl="1" indent="-171450" algn="l" defTabSz="914400" rtl="0" eaLnBrk="1" latinLnBrk="0" hangingPunct="1">
                        <a:spcBef>
                          <a:spcPts val="200"/>
                        </a:spcBef>
                        <a:buFont typeface="Wingdings" panose="05000000000000000000" pitchFamily="2" charset="2"/>
                        <a:buChar char="§"/>
                      </a:pPr>
                      <a:r>
                        <a:rPr lang="de-DE" sz="1200" kern="1200" noProof="0" dirty="0">
                          <a:solidFill>
                            <a:schemeClr val="tx1"/>
                          </a:solidFill>
                          <a:latin typeface="+mn-lt"/>
                          <a:ea typeface="+mn-ea"/>
                          <a:cs typeface="+mn-cs"/>
                        </a:rPr>
                        <a:t>Risiken und nächste Schritte abstimmen</a:t>
                      </a:r>
                    </a:p>
                  </a:txBody>
                  <a:tcPr marL="0" marR="54000" marT="72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lvl="1" indent="-171450" algn="l" defTabSz="914400" rtl="0" eaLnBrk="1" latinLnBrk="0" hangingPunct="1">
                        <a:spcBef>
                          <a:spcPts val="200"/>
                        </a:spcBef>
                        <a:buFont typeface="Wingdings" panose="05000000000000000000" pitchFamily="2" charset="2"/>
                        <a:buChar char="§"/>
                      </a:pPr>
                      <a:r>
                        <a:rPr lang="de-DE" sz="1200" kern="1200" noProof="0" dirty="0">
                          <a:solidFill>
                            <a:schemeClr val="tx1"/>
                          </a:solidFill>
                          <a:latin typeface="+mn-lt"/>
                          <a:ea typeface="+mn-ea"/>
                          <a:cs typeface="+mn-cs"/>
                        </a:rPr>
                        <a:t>Management Summary &amp; Status Quo</a:t>
                      </a:r>
                    </a:p>
                    <a:p>
                      <a:pPr marL="171450" lvl="1" indent="-171450" algn="l" defTabSz="914400" rtl="0" eaLnBrk="1" latinLnBrk="0" hangingPunct="1">
                        <a:spcBef>
                          <a:spcPts val="200"/>
                        </a:spcBef>
                        <a:buFont typeface="Wingdings" panose="05000000000000000000" pitchFamily="2" charset="2"/>
                        <a:buChar char="§"/>
                      </a:pPr>
                      <a:r>
                        <a:rPr lang="de-DE" sz="1200" kern="1200" noProof="0" dirty="0">
                          <a:solidFill>
                            <a:schemeClr val="tx1"/>
                          </a:solidFill>
                          <a:latin typeface="+mn-lt"/>
                          <a:ea typeface="+mn-ea"/>
                          <a:cs typeface="+mn-cs"/>
                        </a:rPr>
                        <a:t>Deep Dive Teilprojekte</a:t>
                      </a:r>
                    </a:p>
                    <a:p>
                      <a:pPr marL="171450" marR="0" lvl="1" indent="-171450" algn="l" defTabSz="914400" rtl="0" eaLnBrk="1" fontAlgn="auto" latinLnBrk="0" hangingPunct="1">
                        <a:lnSpc>
                          <a:spcPct val="100000"/>
                        </a:lnSpc>
                        <a:spcBef>
                          <a:spcPts val="200"/>
                        </a:spcBef>
                        <a:spcAft>
                          <a:spcPts val="0"/>
                        </a:spcAft>
                        <a:buClrTx/>
                        <a:buSzTx/>
                        <a:buFont typeface="Wingdings" panose="05000000000000000000" pitchFamily="2" charset="2"/>
                        <a:buChar char="§"/>
                        <a:tabLst/>
                        <a:defRPr/>
                      </a:pPr>
                      <a:r>
                        <a:rPr lang="de-DE" sz="1200" kern="1200" noProof="0" dirty="0">
                          <a:solidFill>
                            <a:schemeClr val="tx1"/>
                          </a:solidFill>
                          <a:latin typeface="+mn-lt"/>
                          <a:ea typeface="+mn-ea"/>
                          <a:cs typeface="+mn-cs"/>
                        </a:rPr>
                        <a:t>Risiken und Optionen aufzeigen</a:t>
                      </a:r>
                    </a:p>
                    <a:p>
                      <a:pPr marL="171450" lvl="1" indent="-171450" algn="l" defTabSz="914400" rtl="0" eaLnBrk="1" latinLnBrk="0" hangingPunct="1">
                        <a:spcBef>
                          <a:spcPts val="200"/>
                        </a:spcBef>
                        <a:buFont typeface="Wingdings" panose="05000000000000000000" pitchFamily="2" charset="2"/>
                        <a:buChar char="§"/>
                      </a:pPr>
                      <a:r>
                        <a:rPr lang="de-DE" sz="1200" kern="1200" noProof="0" dirty="0">
                          <a:solidFill>
                            <a:schemeClr val="tx1"/>
                          </a:solidFill>
                          <a:latin typeface="+mn-lt"/>
                          <a:ea typeface="+mn-ea"/>
                          <a:cs typeface="+mn-cs"/>
                        </a:rPr>
                        <a:t>Projektentscheidungen treffen</a:t>
                      </a:r>
                    </a:p>
                  </a:txBody>
                  <a:tcPr marL="0" marR="54000" marT="72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820944074"/>
                  </a:ext>
                </a:extLst>
              </a:tr>
            </a:tbl>
          </a:graphicData>
        </a:graphic>
      </p:graphicFrame>
      <p:sp>
        <p:nvSpPr>
          <p:cNvPr id="9" name="Rechteck 8">
            <a:extLst>
              <a:ext uri="{FF2B5EF4-FFF2-40B4-BE49-F238E27FC236}">
                <a16:creationId xmlns:a16="http://schemas.microsoft.com/office/drawing/2014/main" id="{FDB7A162-F1A7-40F6-807E-4D1B232452A3}"/>
              </a:ext>
            </a:extLst>
          </p:cNvPr>
          <p:cNvSpPr/>
          <p:nvPr/>
        </p:nvSpPr>
        <p:spPr>
          <a:xfrm>
            <a:off x="10954961" y="69705"/>
            <a:ext cx="900000" cy="252000"/>
          </a:xfrm>
          <a:prstGeom prst="rect">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b="1" dirty="0"/>
              <a:t>Entwurf</a:t>
            </a:r>
          </a:p>
        </p:txBody>
      </p:sp>
      <p:sp>
        <p:nvSpPr>
          <p:cNvPr id="11" name="Textfeld 10">
            <a:extLst>
              <a:ext uri="{FF2B5EF4-FFF2-40B4-BE49-F238E27FC236}">
                <a16:creationId xmlns:a16="http://schemas.microsoft.com/office/drawing/2014/main" id="{DE6395F6-5B23-4226-99C4-6337C4E46CE2}"/>
              </a:ext>
            </a:extLst>
          </p:cNvPr>
          <p:cNvSpPr txBox="1"/>
          <p:nvPr/>
        </p:nvSpPr>
        <p:spPr>
          <a:xfrm>
            <a:off x="334963" y="6544666"/>
            <a:ext cx="1380506" cy="215444"/>
          </a:xfrm>
          <a:prstGeom prst="rect">
            <a:avLst/>
          </a:prstGeom>
          <a:noFill/>
        </p:spPr>
        <p:txBody>
          <a:bodyPr wrap="none" rtlCol="0" anchor="b">
            <a:spAutoFit/>
          </a:bodyPr>
          <a:lstStyle/>
          <a:p>
            <a:r>
              <a:rPr lang="de-DE" sz="800" dirty="0"/>
              <a:t>Quelle: Projektteam Phönix</a:t>
            </a:r>
          </a:p>
        </p:txBody>
      </p:sp>
    </p:spTree>
    <p:extLst>
      <p:ext uri="{BB962C8B-B14F-4D97-AF65-F5344CB8AC3E}">
        <p14:creationId xmlns:p14="http://schemas.microsoft.com/office/powerpoint/2010/main" val="247967937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98F9D998-4B8A-431F-9357-F3D5AEA5DC2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25" imgH="426" progId="TCLayout.ActiveDocument.1">
                  <p:embed/>
                </p:oleObj>
              </mc:Choice>
              <mc:Fallback>
                <p:oleObj name="think-cell Folie" r:id="rId4" imgW="425" imgH="426" progId="TCLayout.ActiveDocument.1">
                  <p:embed/>
                  <p:pic>
                    <p:nvPicPr>
                      <p:cNvPr id="5" name="Objekt 4" hidden="1">
                        <a:extLst>
                          <a:ext uri="{FF2B5EF4-FFF2-40B4-BE49-F238E27FC236}">
                            <a16:creationId xmlns:a16="http://schemas.microsoft.com/office/drawing/2014/main" id="{98F9D998-4B8A-431F-9357-F3D5AEA5DC2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D6CA93DF-1875-4979-A283-56EBD09394A2}"/>
              </a:ext>
            </a:extLst>
          </p:cNvPr>
          <p:cNvSpPr>
            <a:spLocks noGrp="1"/>
          </p:cNvSpPr>
          <p:nvPr>
            <p:ph type="title"/>
          </p:nvPr>
        </p:nvSpPr>
        <p:spPr/>
        <p:txBody>
          <a:bodyPr vert="horz"/>
          <a:lstStyle/>
          <a:p>
            <a:r>
              <a:rPr lang="de-DE" dirty="0"/>
              <a:t>Weitere Beispiele für mögliche Regeltermine im Projekt</a:t>
            </a:r>
          </a:p>
        </p:txBody>
      </p:sp>
      <p:graphicFrame>
        <p:nvGraphicFramePr>
          <p:cNvPr id="4" name="Tabelle 3">
            <a:extLst>
              <a:ext uri="{FF2B5EF4-FFF2-40B4-BE49-F238E27FC236}">
                <a16:creationId xmlns:a16="http://schemas.microsoft.com/office/drawing/2014/main" id="{A255111F-496F-4798-A548-F91A1EEA191C}"/>
              </a:ext>
            </a:extLst>
          </p:cNvPr>
          <p:cNvGraphicFramePr>
            <a:graphicFrameLocks noGrp="1"/>
          </p:cNvGraphicFramePr>
          <p:nvPr>
            <p:custDataLst>
              <p:tags r:id="rId2"/>
            </p:custDataLst>
            <p:extLst>
              <p:ext uri="{D42A27DB-BD31-4B8C-83A1-F6EECF244321}">
                <p14:modId xmlns:p14="http://schemas.microsoft.com/office/powerpoint/2010/main" val="3095325890"/>
              </p:ext>
            </p:extLst>
          </p:nvPr>
        </p:nvGraphicFramePr>
        <p:xfrm>
          <a:off x="334963" y="1168528"/>
          <a:ext cx="11520001" cy="5148295"/>
        </p:xfrm>
        <a:graphic>
          <a:graphicData uri="http://schemas.openxmlformats.org/drawingml/2006/table">
            <a:tbl>
              <a:tblPr firstRow="1" bandRow="1">
                <a:effectLst/>
                <a:tableStyleId>{5C22544A-7EE6-4342-B048-85BDC9FD1C3A}</a:tableStyleId>
              </a:tblPr>
              <a:tblGrid>
                <a:gridCol w="1824067">
                  <a:extLst>
                    <a:ext uri="{9D8B030D-6E8A-4147-A177-3AD203B41FA5}">
                      <a16:colId xmlns:a16="http://schemas.microsoft.com/office/drawing/2014/main" val="20000"/>
                    </a:ext>
                  </a:extLst>
                </a:gridCol>
                <a:gridCol w="3231978">
                  <a:extLst>
                    <a:ext uri="{9D8B030D-6E8A-4147-A177-3AD203B41FA5}">
                      <a16:colId xmlns:a16="http://schemas.microsoft.com/office/drawing/2014/main" val="20001"/>
                    </a:ext>
                  </a:extLst>
                </a:gridCol>
                <a:gridCol w="3231978">
                  <a:extLst>
                    <a:ext uri="{9D8B030D-6E8A-4147-A177-3AD203B41FA5}">
                      <a16:colId xmlns:a16="http://schemas.microsoft.com/office/drawing/2014/main" val="20002"/>
                    </a:ext>
                  </a:extLst>
                </a:gridCol>
                <a:gridCol w="3231978">
                  <a:extLst>
                    <a:ext uri="{9D8B030D-6E8A-4147-A177-3AD203B41FA5}">
                      <a16:colId xmlns:a16="http://schemas.microsoft.com/office/drawing/2014/main" val="1705138830"/>
                    </a:ext>
                  </a:extLst>
                </a:gridCol>
              </a:tblGrid>
              <a:tr h="401271">
                <a:tc>
                  <a:txBody>
                    <a:bodyPr/>
                    <a:lstStyle/>
                    <a:p>
                      <a:pPr rtl="0">
                        <a:spcBef>
                          <a:spcPts val="0"/>
                        </a:spcBef>
                      </a:pPr>
                      <a:r>
                        <a:rPr lang="de-DE" sz="1400" b="1" noProof="0" dirty="0">
                          <a:solidFill>
                            <a:schemeClr val="tx1"/>
                          </a:solidFill>
                        </a:rPr>
                        <a:t>Name</a:t>
                      </a:r>
                    </a:p>
                  </a:txBody>
                  <a:tcPr marL="0" marR="54000" marT="72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lvl="1" indent="0" rtl="0">
                        <a:spcBef>
                          <a:spcPts val="200"/>
                        </a:spcBef>
                        <a:buFont typeface="Arial" panose="020B0604020202020204" pitchFamily="34" charset="0"/>
                        <a:buNone/>
                      </a:pPr>
                      <a:r>
                        <a:rPr lang="de-DE" sz="1400" b="1" noProof="0" dirty="0">
                          <a:solidFill>
                            <a:schemeClr val="tx1"/>
                          </a:solidFill>
                        </a:rPr>
                        <a:t>PMO-Jour-Fixe</a:t>
                      </a:r>
                    </a:p>
                  </a:txBody>
                  <a:tcPr marL="0" marR="54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lvl="1" indent="0" rtl="0">
                        <a:spcBef>
                          <a:spcPts val="200"/>
                        </a:spcBef>
                        <a:buFont typeface="Arial" panose="020B0604020202020204" pitchFamily="34" charset="0"/>
                        <a:buNone/>
                      </a:pPr>
                      <a:r>
                        <a:rPr lang="de-DE" sz="1400" b="1" noProof="0" dirty="0">
                          <a:solidFill>
                            <a:schemeClr val="tx1"/>
                          </a:solidFill>
                        </a:rPr>
                        <a:t>Projektleiter-Jour-Fixe</a:t>
                      </a:r>
                    </a:p>
                  </a:txBody>
                  <a:tcPr marL="0" marR="54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lvl="1" indent="0" rtl="0">
                        <a:spcBef>
                          <a:spcPts val="200"/>
                        </a:spcBef>
                        <a:buFont typeface="Arial" panose="020B0604020202020204" pitchFamily="34" charset="0"/>
                        <a:buNone/>
                      </a:pPr>
                      <a:r>
                        <a:rPr lang="de-DE" sz="1400" b="1" noProof="0" dirty="0">
                          <a:solidFill>
                            <a:schemeClr val="tx1"/>
                          </a:solidFill>
                        </a:rPr>
                        <a:t>tbd</a:t>
                      </a:r>
                    </a:p>
                  </a:txBody>
                  <a:tcPr marL="0" marR="54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656310371"/>
                  </a:ext>
                </a:extLst>
              </a:tr>
              <a:tr h="688595">
                <a:tc>
                  <a:txBody>
                    <a:bodyPr/>
                    <a:lstStyle/>
                    <a:p>
                      <a:pPr rtl="0">
                        <a:spcBef>
                          <a:spcPts val="0"/>
                        </a:spcBef>
                      </a:pPr>
                      <a:r>
                        <a:rPr lang="de-DE" sz="1400" b="1" noProof="0" dirty="0">
                          <a:solidFill>
                            <a:schemeClr val="tx1"/>
                          </a:solidFill>
                        </a:rPr>
                        <a:t>Termin &amp; Dauer</a:t>
                      </a:r>
                    </a:p>
                  </a:txBody>
                  <a:tcPr marL="0" marR="54000" marT="72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lvl="1" indent="-171450" algn="l" defTabSz="914400" rtl="0" eaLnBrk="1" latinLnBrk="0" hangingPunct="1">
                        <a:spcBef>
                          <a:spcPts val="200"/>
                        </a:spcBef>
                        <a:buFont typeface="Wingdings" panose="05000000000000000000" pitchFamily="2" charset="2"/>
                        <a:buChar char="§"/>
                      </a:pPr>
                      <a:r>
                        <a:rPr lang="de-DE" sz="1200" kern="1200" noProof="0" dirty="0">
                          <a:solidFill>
                            <a:schemeClr val="tx1"/>
                          </a:solidFill>
                          <a:latin typeface="+mn-lt"/>
                          <a:ea typeface="+mn-ea"/>
                          <a:cs typeface="+mn-cs"/>
                        </a:rPr>
                        <a:t>Tag, Zeit</a:t>
                      </a:r>
                    </a:p>
                  </a:txBody>
                  <a:tcPr marL="0" marR="54000" marT="72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lvl="1" indent="-171450" algn="l" defTabSz="914400" rtl="0" eaLnBrk="1" latinLnBrk="0" hangingPunct="1">
                        <a:spcBef>
                          <a:spcPts val="200"/>
                        </a:spcBef>
                        <a:buFont typeface="Wingdings" panose="05000000000000000000" pitchFamily="2" charset="2"/>
                        <a:buChar char="§"/>
                      </a:pPr>
                      <a:r>
                        <a:rPr lang="de-DE" sz="1200" kern="1200" noProof="0" dirty="0">
                          <a:solidFill>
                            <a:schemeClr val="tx1"/>
                          </a:solidFill>
                          <a:latin typeface="+mn-lt"/>
                          <a:ea typeface="+mn-ea"/>
                          <a:cs typeface="+mn-cs"/>
                        </a:rPr>
                        <a:t>Tag, Zeit</a:t>
                      </a:r>
                    </a:p>
                  </a:txBody>
                  <a:tcPr marL="0" marR="54000" marT="72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lvl="1" indent="-171450" algn="l" defTabSz="914400" rtl="0" eaLnBrk="1" latinLnBrk="0" hangingPunct="1">
                        <a:spcBef>
                          <a:spcPts val="200"/>
                        </a:spcBef>
                        <a:buFont typeface="Wingdings" panose="05000000000000000000" pitchFamily="2" charset="2"/>
                        <a:buChar char="§"/>
                      </a:pPr>
                      <a:r>
                        <a:rPr lang="de-DE" sz="1200" kern="1200" noProof="0" dirty="0">
                          <a:solidFill>
                            <a:schemeClr val="tx1"/>
                          </a:solidFill>
                          <a:latin typeface="+mn-lt"/>
                          <a:ea typeface="+mn-ea"/>
                          <a:cs typeface="+mn-cs"/>
                        </a:rPr>
                        <a:t>Tag, Zeit</a:t>
                      </a:r>
                    </a:p>
                  </a:txBody>
                  <a:tcPr marL="0" marR="54000" marT="72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828079071"/>
                  </a:ext>
                </a:extLst>
              </a:tr>
              <a:tr h="1333837">
                <a:tc>
                  <a:txBody>
                    <a:bodyPr/>
                    <a:lstStyle/>
                    <a:p>
                      <a:pPr rtl="0">
                        <a:spcBef>
                          <a:spcPts val="0"/>
                        </a:spcBef>
                      </a:pPr>
                      <a:r>
                        <a:rPr lang="de-DE" sz="1400" b="1" noProof="0" dirty="0">
                          <a:solidFill>
                            <a:schemeClr val="tx1"/>
                          </a:solidFill>
                        </a:rPr>
                        <a:t>Teilnehmer</a:t>
                      </a:r>
                    </a:p>
                  </a:txBody>
                  <a:tcPr marL="0" marR="54000" marT="72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lvl="1" indent="-171450" algn="l" defTabSz="914400" rtl="0" eaLnBrk="1" latinLnBrk="0" hangingPunct="1">
                        <a:spcBef>
                          <a:spcPts val="200"/>
                        </a:spcBef>
                        <a:buFont typeface="Wingdings" panose="05000000000000000000" pitchFamily="2" charset="2"/>
                        <a:buChar char="§"/>
                      </a:pPr>
                      <a:r>
                        <a:rPr lang="de-DE" sz="1200" kern="1200" noProof="0" dirty="0">
                          <a:solidFill>
                            <a:schemeClr val="tx1"/>
                          </a:solidFill>
                          <a:latin typeface="+mn-lt"/>
                          <a:ea typeface="+mn-ea"/>
                          <a:cs typeface="+mn-cs"/>
                        </a:rPr>
                        <a:t>Projektleiter</a:t>
                      </a:r>
                    </a:p>
                    <a:p>
                      <a:pPr marL="171450" lvl="1" indent="-171450" algn="l" defTabSz="914400" rtl="0" eaLnBrk="1" latinLnBrk="0" hangingPunct="1">
                        <a:spcBef>
                          <a:spcPts val="200"/>
                        </a:spcBef>
                        <a:buFont typeface="Wingdings" panose="05000000000000000000" pitchFamily="2" charset="2"/>
                        <a:buChar char="§"/>
                      </a:pPr>
                      <a:r>
                        <a:rPr lang="de-DE" sz="1200" kern="1200" noProof="0" dirty="0">
                          <a:solidFill>
                            <a:schemeClr val="tx1"/>
                          </a:solidFill>
                          <a:latin typeface="+mn-lt"/>
                          <a:ea typeface="+mn-ea"/>
                          <a:cs typeface="+mn-cs"/>
                        </a:rPr>
                        <a:t>PMO</a:t>
                      </a:r>
                    </a:p>
                  </a:txBody>
                  <a:tcPr marL="0" marR="54000" marT="72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lvl="1" indent="-171450" algn="l" defTabSz="914400" rtl="0" eaLnBrk="1" latinLnBrk="0" hangingPunct="1">
                        <a:spcBef>
                          <a:spcPts val="200"/>
                        </a:spcBef>
                        <a:buFont typeface="Wingdings" panose="05000000000000000000" pitchFamily="2" charset="2"/>
                        <a:buChar char="§"/>
                      </a:pPr>
                      <a:r>
                        <a:rPr lang="de-DE" sz="1200" kern="1200" noProof="0" dirty="0">
                          <a:solidFill>
                            <a:schemeClr val="tx1"/>
                          </a:solidFill>
                          <a:latin typeface="+mn-lt"/>
                          <a:ea typeface="+mn-ea"/>
                          <a:cs typeface="+mn-cs"/>
                        </a:rPr>
                        <a:t>Projektleiter</a:t>
                      </a:r>
                    </a:p>
                    <a:p>
                      <a:pPr marL="171450" lvl="1" indent="-171450" algn="l" defTabSz="914400" rtl="0" eaLnBrk="1" latinLnBrk="0" hangingPunct="1">
                        <a:spcBef>
                          <a:spcPts val="200"/>
                        </a:spcBef>
                        <a:buFont typeface="Wingdings" panose="05000000000000000000" pitchFamily="2" charset="2"/>
                        <a:buChar char="§"/>
                      </a:pPr>
                      <a:r>
                        <a:rPr lang="de-DE" sz="1200" kern="1200" noProof="0" dirty="0">
                          <a:solidFill>
                            <a:schemeClr val="tx1"/>
                          </a:solidFill>
                          <a:latin typeface="+mn-lt"/>
                          <a:ea typeface="+mn-ea"/>
                          <a:cs typeface="+mn-cs"/>
                        </a:rPr>
                        <a:t>Teilprojektleiter</a:t>
                      </a:r>
                    </a:p>
                    <a:p>
                      <a:pPr marL="171450" lvl="1" indent="-171450" algn="l" defTabSz="914400" rtl="0" eaLnBrk="1" latinLnBrk="0" hangingPunct="1">
                        <a:spcBef>
                          <a:spcPts val="200"/>
                        </a:spcBef>
                        <a:buFont typeface="Wingdings" panose="05000000000000000000" pitchFamily="2" charset="2"/>
                        <a:buChar char="§"/>
                      </a:pPr>
                      <a:r>
                        <a:rPr lang="de-DE" sz="1200" kern="1200" noProof="0" dirty="0">
                          <a:solidFill>
                            <a:schemeClr val="tx1"/>
                          </a:solidFill>
                          <a:latin typeface="+mn-lt"/>
                          <a:ea typeface="+mn-ea"/>
                          <a:cs typeface="+mn-cs"/>
                        </a:rPr>
                        <a:t>PMO</a:t>
                      </a:r>
                    </a:p>
                  </a:txBody>
                  <a:tcPr marL="0" marR="54000" marT="72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lvl="1" indent="-171450" algn="l" defTabSz="914400" rtl="0" eaLnBrk="1" latinLnBrk="0" hangingPunct="1">
                        <a:spcBef>
                          <a:spcPts val="200"/>
                        </a:spcBef>
                        <a:buFont typeface="Wingdings" panose="05000000000000000000" pitchFamily="2" charset="2"/>
                        <a:buChar char="§"/>
                      </a:pPr>
                      <a:r>
                        <a:rPr lang="de-DE" sz="1200" kern="1200" noProof="0" dirty="0">
                          <a:solidFill>
                            <a:schemeClr val="tx1"/>
                          </a:solidFill>
                          <a:latin typeface="+mn-lt"/>
                          <a:ea typeface="+mn-ea"/>
                          <a:cs typeface="+mn-cs"/>
                        </a:rPr>
                        <a:t>Steuerkreisteilnehmer</a:t>
                      </a:r>
                    </a:p>
                    <a:p>
                      <a:pPr marL="171450" lvl="1" indent="-171450" algn="l" defTabSz="914400" rtl="0" eaLnBrk="1" latinLnBrk="0" hangingPunct="1">
                        <a:spcBef>
                          <a:spcPts val="200"/>
                        </a:spcBef>
                        <a:buFont typeface="Wingdings" panose="05000000000000000000" pitchFamily="2" charset="2"/>
                        <a:buChar char="§"/>
                      </a:pPr>
                      <a:r>
                        <a:rPr lang="de-DE" sz="1200" kern="1200" noProof="0" dirty="0">
                          <a:solidFill>
                            <a:schemeClr val="tx1"/>
                          </a:solidFill>
                          <a:latin typeface="+mn-lt"/>
                          <a:ea typeface="+mn-ea"/>
                          <a:cs typeface="+mn-cs"/>
                        </a:rPr>
                        <a:t>Projektleiter</a:t>
                      </a:r>
                    </a:p>
                    <a:p>
                      <a:pPr marL="171450" lvl="1" indent="-171450" algn="l" defTabSz="914400" rtl="0" eaLnBrk="1" latinLnBrk="0" hangingPunct="1">
                        <a:spcBef>
                          <a:spcPts val="200"/>
                        </a:spcBef>
                        <a:buFont typeface="Wingdings" panose="05000000000000000000" pitchFamily="2" charset="2"/>
                        <a:buChar char="§"/>
                      </a:pPr>
                      <a:r>
                        <a:rPr lang="de-DE" sz="1200" kern="1200" noProof="0" dirty="0">
                          <a:solidFill>
                            <a:schemeClr val="tx1"/>
                          </a:solidFill>
                          <a:latin typeface="+mn-lt"/>
                          <a:ea typeface="+mn-ea"/>
                          <a:cs typeface="+mn-cs"/>
                        </a:rPr>
                        <a:t>Teilprojektleiter</a:t>
                      </a:r>
                    </a:p>
                    <a:p>
                      <a:pPr marL="171450" lvl="1" indent="-171450" algn="l" defTabSz="914400" rtl="0" eaLnBrk="1" latinLnBrk="0" hangingPunct="1">
                        <a:spcBef>
                          <a:spcPts val="200"/>
                        </a:spcBef>
                        <a:buFont typeface="Wingdings" panose="05000000000000000000" pitchFamily="2" charset="2"/>
                        <a:buChar char="§"/>
                      </a:pPr>
                      <a:r>
                        <a:rPr lang="de-DE" sz="1200" kern="1200" noProof="0" dirty="0">
                          <a:solidFill>
                            <a:schemeClr val="tx1"/>
                          </a:solidFill>
                          <a:latin typeface="+mn-lt"/>
                          <a:ea typeface="+mn-ea"/>
                          <a:cs typeface="+mn-cs"/>
                        </a:rPr>
                        <a:t>PMO-Leiter</a:t>
                      </a:r>
                    </a:p>
                    <a:p>
                      <a:pPr marL="171450" lvl="1" indent="-171450" algn="l" defTabSz="914400" rtl="0" eaLnBrk="1" latinLnBrk="0" hangingPunct="1">
                        <a:spcBef>
                          <a:spcPts val="200"/>
                        </a:spcBef>
                        <a:buFont typeface="Wingdings" panose="05000000000000000000" pitchFamily="2" charset="2"/>
                        <a:buChar char="§"/>
                      </a:pPr>
                      <a:r>
                        <a:rPr lang="de-DE" sz="1200" kern="1200" noProof="0" dirty="0">
                          <a:solidFill>
                            <a:schemeClr val="tx1"/>
                          </a:solidFill>
                          <a:latin typeface="+mn-lt"/>
                          <a:ea typeface="+mn-ea"/>
                          <a:cs typeface="+mn-cs"/>
                        </a:rPr>
                        <a:t>Leiter C&amp;C</a:t>
                      </a:r>
                    </a:p>
                  </a:txBody>
                  <a:tcPr marL="0" marR="54000" marT="72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37681067"/>
                  </a:ext>
                </a:extLst>
              </a:tr>
              <a:tr h="742936">
                <a:tc>
                  <a:txBody>
                    <a:bodyPr/>
                    <a:lstStyle/>
                    <a:p>
                      <a:pPr rtl="0">
                        <a:spcBef>
                          <a:spcPts val="0"/>
                        </a:spcBef>
                      </a:pPr>
                      <a:r>
                        <a:rPr lang="de-DE" sz="1400" b="1" noProof="0" dirty="0">
                          <a:solidFill>
                            <a:schemeClr val="tx1"/>
                          </a:solidFill>
                        </a:rPr>
                        <a:t>Ort</a:t>
                      </a:r>
                    </a:p>
                  </a:txBody>
                  <a:tcPr marL="0" marR="54000" marT="72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lvl="1" indent="-171450" algn="l" defTabSz="914400" rtl="0" eaLnBrk="1" latinLnBrk="0" hangingPunct="1">
                        <a:spcBef>
                          <a:spcPts val="200"/>
                        </a:spcBef>
                        <a:buFont typeface="Wingdings" panose="05000000000000000000" pitchFamily="2" charset="2"/>
                        <a:buChar char="§"/>
                      </a:pPr>
                      <a:r>
                        <a:rPr lang="de-DE" sz="1200" kern="1200" noProof="0" dirty="0">
                          <a:solidFill>
                            <a:schemeClr val="tx1"/>
                          </a:solidFill>
                          <a:latin typeface="+mn-lt"/>
                          <a:ea typeface="+mn-ea"/>
                          <a:cs typeface="+mn-cs"/>
                        </a:rPr>
                        <a:t>Raum</a:t>
                      </a:r>
                    </a:p>
                  </a:txBody>
                  <a:tcPr marL="0" marR="54000" marT="72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lvl="1" indent="-171450" algn="l" defTabSz="914400" rtl="0" eaLnBrk="1" latinLnBrk="0" hangingPunct="1">
                        <a:spcBef>
                          <a:spcPts val="200"/>
                        </a:spcBef>
                        <a:buFont typeface="Wingdings" panose="05000000000000000000" pitchFamily="2" charset="2"/>
                        <a:buChar char="§"/>
                      </a:pPr>
                      <a:r>
                        <a:rPr lang="de-DE" sz="1200" kern="1200" noProof="0" dirty="0">
                          <a:solidFill>
                            <a:schemeClr val="tx1"/>
                          </a:solidFill>
                          <a:latin typeface="+mn-lt"/>
                          <a:ea typeface="+mn-ea"/>
                          <a:cs typeface="+mn-cs"/>
                        </a:rPr>
                        <a:t>Raum</a:t>
                      </a:r>
                    </a:p>
                  </a:txBody>
                  <a:tcPr marL="0" marR="54000" marT="72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lvl="1" indent="-171450" algn="l" defTabSz="914400" rtl="0" eaLnBrk="1" latinLnBrk="0" hangingPunct="1">
                        <a:spcBef>
                          <a:spcPts val="200"/>
                        </a:spcBef>
                        <a:buFont typeface="Wingdings" panose="05000000000000000000" pitchFamily="2" charset="2"/>
                        <a:buChar char="§"/>
                      </a:pPr>
                      <a:r>
                        <a:rPr lang="de-DE" sz="1200" kern="1200" noProof="0" dirty="0">
                          <a:solidFill>
                            <a:schemeClr val="tx1"/>
                          </a:solidFill>
                          <a:latin typeface="+mn-lt"/>
                          <a:ea typeface="+mn-ea"/>
                          <a:cs typeface="+mn-cs"/>
                        </a:rPr>
                        <a:t>Raum</a:t>
                      </a:r>
                    </a:p>
                  </a:txBody>
                  <a:tcPr marL="0" marR="54000" marT="72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271140200"/>
                  </a:ext>
                </a:extLst>
              </a:tr>
              <a:tr h="718414">
                <a:tc>
                  <a:txBody>
                    <a:bodyPr/>
                    <a:lstStyle/>
                    <a:p>
                      <a:pPr rtl="0">
                        <a:spcBef>
                          <a:spcPts val="0"/>
                        </a:spcBef>
                      </a:pPr>
                      <a:r>
                        <a:rPr lang="de-DE" sz="1400" b="1" noProof="0" dirty="0">
                          <a:solidFill>
                            <a:schemeClr val="tx1"/>
                          </a:solidFill>
                        </a:rPr>
                        <a:t>Zielsetzung</a:t>
                      </a:r>
                    </a:p>
                  </a:txBody>
                  <a:tcPr marL="0" marR="54000" marT="72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lvl="1" indent="-171450" algn="l" defTabSz="914400" rtl="0" eaLnBrk="1" latinLnBrk="0" hangingPunct="1">
                        <a:spcBef>
                          <a:spcPts val="200"/>
                        </a:spcBef>
                        <a:buFont typeface="Wingdings" panose="05000000000000000000" pitchFamily="2" charset="2"/>
                        <a:buChar char="§"/>
                      </a:pPr>
                      <a:r>
                        <a:rPr lang="de-DE" sz="1200" kern="1200" noProof="0" dirty="0">
                          <a:solidFill>
                            <a:schemeClr val="tx1"/>
                          </a:solidFill>
                          <a:latin typeface="+mn-lt"/>
                          <a:ea typeface="+mn-ea"/>
                          <a:cs typeface="+mn-cs"/>
                        </a:rPr>
                        <a:t>Fortschritt des Projekts besprechen und notwendige Entscheidungen abstimmen</a:t>
                      </a:r>
                    </a:p>
                  </a:txBody>
                  <a:tcPr marL="0" marR="54000" marT="72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lvl="1" indent="-171450" algn="l" defTabSz="914400" rtl="0" eaLnBrk="1" latinLnBrk="0" hangingPunct="1">
                        <a:spcBef>
                          <a:spcPts val="200"/>
                        </a:spcBef>
                        <a:buFont typeface="Wingdings" panose="05000000000000000000" pitchFamily="2" charset="2"/>
                        <a:buChar char="§"/>
                      </a:pPr>
                      <a:r>
                        <a:rPr lang="de-DE" sz="1200" kern="1200" noProof="0" dirty="0">
                          <a:solidFill>
                            <a:schemeClr val="tx1"/>
                          </a:solidFill>
                          <a:latin typeface="+mn-lt"/>
                          <a:ea typeface="+mn-ea"/>
                          <a:cs typeface="+mn-cs"/>
                        </a:rPr>
                        <a:t>Wochenergebnisse abstimmen</a:t>
                      </a:r>
                    </a:p>
                  </a:txBody>
                  <a:tcPr marL="0" marR="54000" marT="72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lvl="1" indent="-171450" algn="l" defTabSz="914400" rtl="0" eaLnBrk="1" latinLnBrk="0" hangingPunct="1">
                        <a:spcBef>
                          <a:spcPts val="200"/>
                        </a:spcBef>
                        <a:buFont typeface="Wingdings" panose="05000000000000000000" pitchFamily="2" charset="2"/>
                        <a:buChar char="§"/>
                      </a:pPr>
                      <a:r>
                        <a:rPr lang="de-DE" sz="1200" kern="1200" noProof="0" dirty="0">
                          <a:solidFill>
                            <a:schemeClr val="tx1"/>
                          </a:solidFill>
                          <a:latin typeface="+mn-lt"/>
                          <a:ea typeface="+mn-ea"/>
                          <a:cs typeface="+mn-cs"/>
                        </a:rPr>
                        <a:t>Warum wird dieser Termin gemacht?</a:t>
                      </a:r>
                    </a:p>
                  </a:txBody>
                  <a:tcPr marL="0" marR="54000" marT="72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63726347"/>
                  </a:ext>
                </a:extLst>
              </a:tr>
              <a:tr h="1263242">
                <a:tc>
                  <a:txBody>
                    <a:bodyPr/>
                    <a:lstStyle/>
                    <a:p>
                      <a:pPr rtl="0">
                        <a:spcBef>
                          <a:spcPts val="0"/>
                        </a:spcBef>
                      </a:pPr>
                      <a:r>
                        <a:rPr lang="de-DE" sz="1400" b="1" noProof="0" dirty="0">
                          <a:solidFill>
                            <a:schemeClr val="tx1"/>
                          </a:solidFill>
                        </a:rPr>
                        <a:t>Agenda</a:t>
                      </a:r>
                    </a:p>
                  </a:txBody>
                  <a:tcPr marL="0" marR="54000" marT="72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lvl="1" indent="-171450" algn="l" defTabSz="914400" rtl="0" eaLnBrk="1" latinLnBrk="0" hangingPunct="1">
                        <a:spcBef>
                          <a:spcPts val="200"/>
                        </a:spcBef>
                        <a:buFont typeface="Wingdings" panose="05000000000000000000" pitchFamily="2" charset="2"/>
                        <a:buChar char="§"/>
                      </a:pPr>
                      <a:r>
                        <a:rPr lang="de-DE" sz="1200" kern="1200" noProof="0" dirty="0">
                          <a:solidFill>
                            <a:schemeClr val="tx1"/>
                          </a:solidFill>
                          <a:latin typeface="+mn-lt"/>
                          <a:ea typeface="+mn-ea"/>
                          <a:cs typeface="+mn-cs"/>
                        </a:rPr>
                        <a:t>Projektfortschritt darstellen</a:t>
                      </a:r>
                    </a:p>
                    <a:p>
                      <a:pPr marL="171450" lvl="1" indent="-171450" algn="l" defTabSz="914400" rtl="0" eaLnBrk="1" latinLnBrk="0" hangingPunct="1">
                        <a:spcBef>
                          <a:spcPts val="200"/>
                        </a:spcBef>
                        <a:buFont typeface="Wingdings" panose="05000000000000000000" pitchFamily="2" charset="2"/>
                        <a:buChar char="§"/>
                      </a:pPr>
                      <a:r>
                        <a:rPr lang="de-DE" sz="1200" kern="1200" noProof="0" dirty="0">
                          <a:solidFill>
                            <a:schemeClr val="tx1"/>
                          </a:solidFill>
                          <a:latin typeface="+mn-lt"/>
                          <a:ea typeface="+mn-ea"/>
                          <a:cs typeface="+mn-cs"/>
                        </a:rPr>
                        <a:t>Risiken aufzeigen</a:t>
                      </a:r>
                    </a:p>
                    <a:p>
                      <a:pPr marL="171450" lvl="1" indent="-171450" algn="l" defTabSz="914400" rtl="0" eaLnBrk="1" latinLnBrk="0" hangingPunct="1">
                        <a:spcBef>
                          <a:spcPts val="200"/>
                        </a:spcBef>
                        <a:buFont typeface="Wingdings" panose="05000000000000000000" pitchFamily="2" charset="2"/>
                        <a:buChar char="§"/>
                      </a:pPr>
                      <a:r>
                        <a:rPr lang="de-DE" sz="1200" kern="1200" noProof="0" dirty="0">
                          <a:solidFill>
                            <a:schemeClr val="tx1"/>
                          </a:solidFill>
                          <a:latin typeface="+mn-lt"/>
                          <a:ea typeface="+mn-ea"/>
                          <a:cs typeface="+mn-cs"/>
                        </a:rPr>
                        <a:t>Notwendige Entscheidungen abstimmen</a:t>
                      </a:r>
                    </a:p>
                  </a:txBody>
                  <a:tcPr marL="0" marR="54000" marT="72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lvl="1" indent="-171450" algn="l" defTabSz="914400" rtl="0" eaLnBrk="1" latinLnBrk="0" hangingPunct="1">
                        <a:spcBef>
                          <a:spcPts val="200"/>
                        </a:spcBef>
                        <a:buFont typeface="Wingdings" panose="05000000000000000000" pitchFamily="2" charset="2"/>
                        <a:buChar char="§"/>
                      </a:pPr>
                      <a:r>
                        <a:rPr lang="de-DE" sz="1200" kern="1200" noProof="0" dirty="0">
                          <a:solidFill>
                            <a:schemeClr val="tx1"/>
                          </a:solidFill>
                          <a:latin typeface="+mn-lt"/>
                          <a:ea typeface="+mn-ea"/>
                          <a:cs typeface="+mn-cs"/>
                        </a:rPr>
                        <a:t>Teilprojekt anhand PMO-Template vorstellen</a:t>
                      </a:r>
                    </a:p>
                    <a:p>
                      <a:pPr marL="171450" lvl="1" indent="-171450" algn="l" defTabSz="914400" rtl="0" eaLnBrk="1" latinLnBrk="0" hangingPunct="1">
                        <a:spcBef>
                          <a:spcPts val="200"/>
                        </a:spcBef>
                        <a:buFont typeface="Wingdings" panose="05000000000000000000" pitchFamily="2" charset="2"/>
                        <a:buChar char="§"/>
                      </a:pPr>
                      <a:r>
                        <a:rPr lang="de-DE" sz="1200" kern="1200" noProof="0" dirty="0">
                          <a:solidFill>
                            <a:schemeClr val="tx1"/>
                          </a:solidFill>
                          <a:latin typeface="+mn-lt"/>
                          <a:ea typeface="+mn-ea"/>
                          <a:cs typeface="+mn-cs"/>
                        </a:rPr>
                        <a:t>Risiken und nächste Schritte abstimmen</a:t>
                      </a:r>
                    </a:p>
                  </a:txBody>
                  <a:tcPr marL="0" marR="54000" marT="72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lvl="1" indent="-171450" algn="l" defTabSz="914400" rtl="0" eaLnBrk="1" latinLnBrk="0" hangingPunct="1">
                        <a:spcBef>
                          <a:spcPts val="200"/>
                        </a:spcBef>
                        <a:buFont typeface="Wingdings" panose="05000000000000000000" pitchFamily="2" charset="2"/>
                        <a:buChar char="§"/>
                      </a:pPr>
                      <a:r>
                        <a:rPr lang="de-DE" sz="1200" kern="1200" noProof="0" dirty="0">
                          <a:solidFill>
                            <a:schemeClr val="tx1"/>
                          </a:solidFill>
                          <a:latin typeface="+mn-lt"/>
                          <a:ea typeface="+mn-ea"/>
                          <a:cs typeface="+mn-cs"/>
                        </a:rPr>
                        <a:t>Agendapunkte</a:t>
                      </a:r>
                    </a:p>
                  </a:txBody>
                  <a:tcPr marL="0" marR="54000" marT="72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820944074"/>
                  </a:ext>
                </a:extLst>
              </a:tr>
            </a:tbl>
          </a:graphicData>
        </a:graphic>
      </p:graphicFrame>
      <p:sp>
        <p:nvSpPr>
          <p:cNvPr id="9" name="Rechteck 8">
            <a:extLst>
              <a:ext uri="{FF2B5EF4-FFF2-40B4-BE49-F238E27FC236}">
                <a16:creationId xmlns:a16="http://schemas.microsoft.com/office/drawing/2014/main" id="{FDB7A162-F1A7-40F6-807E-4D1B232452A3}"/>
              </a:ext>
            </a:extLst>
          </p:cNvPr>
          <p:cNvSpPr/>
          <p:nvPr/>
        </p:nvSpPr>
        <p:spPr>
          <a:xfrm>
            <a:off x="10954961" y="69705"/>
            <a:ext cx="900000" cy="252000"/>
          </a:xfrm>
          <a:prstGeom prst="rect">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b="1" dirty="0"/>
              <a:t>Entwurf</a:t>
            </a:r>
          </a:p>
        </p:txBody>
      </p:sp>
      <p:sp>
        <p:nvSpPr>
          <p:cNvPr id="11" name="Textfeld 10">
            <a:extLst>
              <a:ext uri="{FF2B5EF4-FFF2-40B4-BE49-F238E27FC236}">
                <a16:creationId xmlns:a16="http://schemas.microsoft.com/office/drawing/2014/main" id="{DE6395F6-5B23-4226-99C4-6337C4E46CE2}"/>
              </a:ext>
            </a:extLst>
          </p:cNvPr>
          <p:cNvSpPr txBox="1"/>
          <p:nvPr/>
        </p:nvSpPr>
        <p:spPr>
          <a:xfrm>
            <a:off x="334963" y="6544666"/>
            <a:ext cx="1380506" cy="215444"/>
          </a:xfrm>
          <a:prstGeom prst="rect">
            <a:avLst/>
          </a:prstGeom>
          <a:noFill/>
        </p:spPr>
        <p:txBody>
          <a:bodyPr wrap="none" rtlCol="0" anchor="b">
            <a:spAutoFit/>
          </a:bodyPr>
          <a:lstStyle/>
          <a:p>
            <a:r>
              <a:rPr lang="de-DE" sz="800" dirty="0"/>
              <a:t>Quelle: Projektteam Phönix</a:t>
            </a:r>
          </a:p>
        </p:txBody>
      </p:sp>
    </p:spTree>
    <p:extLst>
      <p:ext uri="{BB962C8B-B14F-4D97-AF65-F5344CB8AC3E}">
        <p14:creationId xmlns:p14="http://schemas.microsoft.com/office/powerpoint/2010/main" val="357787781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kt 10" hidden="1">
            <a:extLst>
              <a:ext uri="{FF2B5EF4-FFF2-40B4-BE49-F238E27FC236}">
                <a16:creationId xmlns:a16="http://schemas.microsoft.com/office/drawing/2014/main" id="{EFB91133-0E2F-48F6-A178-B17E2BEC5EAB}"/>
              </a:ext>
            </a:extLst>
          </p:cNvPr>
          <p:cNvGraphicFramePr>
            <a:graphicFrameLocks noChangeAspect="1"/>
          </p:cNvGraphicFramePr>
          <p:nvPr>
            <p:custDataLst>
              <p:tags r:id="rId1"/>
            </p:custDataLst>
            <p:extLst>
              <p:ext uri="{D42A27DB-BD31-4B8C-83A1-F6EECF244321}">
                <p14:modId xmlns:p14="http://schemas.microsoft.com/office/powerpoint/2010/main" val="4449379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6" progId="TCLayout.ActiveDocument.1">
                  <p:embed/>
                </p:oleObj>
              </mc:Choice>
              <mc:Fallback>
                <p:oleObj name="think-cell Folie" r:id="rId3" imgW="425" imgH="426" progId="TCLayout.ActiveDocument.1">
                  <p:embed/>
                  <p:pic>
                    <p:nvPicPr>
                      <p:cNvPr id="11" name="Objekt 10" hidden="1">
                        <a:extLst>
                          <a:ext uri="{FF2B5EF4-FFF2-40B4-BE49-F238E27FC236}">
                            <a16:creationId xmlns:a16="http://schemas.microsoft.com/office/drawing/2014/main" id="{EFB91133-0E2F-48F6-A178-B17E2BEC5EA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2C72BAFB-38D4-4258-BA15-1CFBBCCB4463}"/>
              </a:ext>
            </a:extLst>
          </p:cNvPr>
          <p:cNvSpPr>
            <a:spLocks noGrp="1"/>
          </p:cNvSpPr>
          <p:nvPr>
            <p:ph type="title"/>
          </p:nvPr>
        </p:nvSpPr>
        <p:spPr>
          <a:xfrm>
            <a:off x="334963" y="333374"/>
            <a:ext cx="11520000" cy="540000"/>
          </a:xfrm>
        </p:spPr>
        <p:txBody>
          <a:bodyPr vert="horz"/>
          <a:lstStyle/>
          <a:p>
            <a:r>
              <a:rPr lang="de-DE" dirty="0"/>
              <a:t>Arbeitsmodus &amp; Projektregeln</a:t>
            </a:r>
          </a:p>
        </p:txBody>
      </p:sp>
      <p:sp>
        <p:nvSpPr>
          <p:cNvPr id="6" name="Rechteck 5">
            <a:extLst>
              <a:ext uri="{FF2B5EF4-FFF2-40B4-BE49-F238E27FC236}">
                <a16:creationId xmlns:a16="http://schemas.microsoft.com/office/drawing/2014/main" id="{C6603FAD-9C84-46A6-B9DB-52EF18C21C65}"/>
              </a:ext>
            </a:extLst>
          </p:cNvPr>
          <p:cNvSpPr/>
          <p:nvPr/>
        </p:nvSpPr>
        <p:spPr>
          <a:xfrm>
            <a:off x="334963" y="1419206"/>
            <a:ext cx="5580000" cy="4071949"/>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285750" indent="-285750">
              <a:spcBef>
                <a:spcPts val="600"/>
              </a:spcBef>
              <a:buFont typeface="Wingdings" panose="05000000000000000000" pitchFamily="2" charset="2"/>
              <a:buChar char="§"/>
            </a:pPr>
            <a:r>
              <a:rPr lang="de-DE" sz="1400" dirty="0">
                <a:solidFill>
                  <a:schemeClr val="tx1"/>
                </a:solidFill>
              </a:rPr>
              <a:t>Kernteam arbeitet im Projektraum Nr. 312</a:t>
            </a:r>
          </a:p>
          <a:p>
            <a:pPr marL="285750" indent="-285750">
              <a:spcBef>
                <a:spcPts val="600"/>
              </a:spcBef>
              <a:buFont typeface="Wingdings" panose="05000000000000000000" pitchFamily="2" charset="2"/>
              <a:buChar char="§"/>
            </a:pPr>
            <a:r>
              <a:rPr lang="de-DE" sz="1400" dirty="0">
                <a:solidFill>
                  <a:schemeClr val="tx1"/>
                </a:solidFill>
              </a:rPr>
              <a:t>Jeden Morgen „Daily“ im Projektraum für alle Projektmitarbeiter. Jeder Teilprojektleiter stellt sein Teilprojekt mündlich vor:</a:t>
            </a:r>
          </a:p>
          <a:p>
            <a:pPr marL="628650" lvl="1" indent="-285750">
              <a:spcBef>
                <a:spcPts val="600"/>
              </a:spcBef>
              <a:buFont typeface="Wingdings" panose="05000000000000000000" pitchFamily="2" charset="2"/>
              <a:buChar char="§"/>
            </a:pPr>
            <a:r>
              <a:rPr lang="de-DE" sz="1400" dirty="0">
                <a:solidFill>
                  <a:schemeClr val="tx1"/>
                </a:solidFill>
              </a:rPr>
              <a:t>Fortschritt, </a:t>
            </a:r>
          </a:p>
          <a:p>
            <a:pPr marL="628650" lvl="1" indent="-285750">
              <a:spcBef>
                <a:spcPts val="600"/>
              </a:spcBef>
              <a:buFont typeface="Wingdings" panose="05000000000000000000" pitchFamily="2" charset="2"/>
              <a:buChar char="§"/>
            </a:pPr>
            <a:r>
              <a:rPr lang="de-DE" sz="1400" dirty="0">
                <a:solidFill>
                  <a:schemeClr val="tx1"/>
                </a:solidFill>
              </a:rPr>
              <a:t>Geplante Aktivitäten, </a:t>
            </a:r>
          </a:p>
          <a:p>
            <a:pPr marL="628650" lvl="1" indent="-285750">
              <a:spcBef>
                <a:spcPts val="600"/>
              </a:spcBef>
              <a:buFont typeface="Wingdings" panose="05000000000000000000" pitchFamily="2" charset="2"/>
              <a:buChar char="§"/>
            </a:pPr>
            <a:r>
              <a:rPr lang="de-DE" sz="1400" dirty="0">
                <a:solidFill>
                  <a:schemeClr val="tx1"/>
                </a:solidFill>
              </a:rPr>
              <a:t>Risiken,</a:t>
            </a:r>
          </a:p>
          <a:p>
            <a:pPr marL="628650" lvl="1" indent="-285750">
              <a:spcBef>
                <a:spcPts val="600"/>
              </a:spcBef>
              <a:buFont typeface="Wingdings" panose="05000000000000000000" pitchFamily="2" charset="2"/>
              <a:buChar char="§"/>
            </a:pPr>
            <a:r>
              <a:rPr lang="de-DE" sz="1400" dirty="0">
                <a:solidFill>
                  <a:schemeClr val="tx1"/>
                </a:solidFill>
              </a:rPr>
              <a:t>Notwendige Entscheidungen.</a:t>
            </a:r>
          </a:p>
          <a:p>
            <a:pPr marL="285750" indent="-285750">
              <a:spcBef>
                <a:spcPts val="600"/>
              </a:spcBef>
              <a:buFont typeface="Wingdings" panose="05000000000000000000" pitchFamily="2" charset="2"/>
              <a:buChar char="§"/>
            </a:pPr>
            <a:r>
              <a:rPr lang="de-DE" sz="1400" dirty="0">
                <a:solidFill>
                  <a:schemeClr val="tx1"/>
                </a:solidFill>
              </a:rPr>
              <a:t>Freitags remote/ Home Office möglich</a:t>
            </a:r>
          </a:p>
          <a:p>
            <a:pPr marL="285750" indent="-285750">
              <a:spcBef>
                <a:spcPts val="600"/>
              </a:spcBef>
              <a:buFont typeface="Wingdings" panose="05000000000000000000" pitchFamily="2" charset="2"/>
              <a:buChar char="§"/>
            </a:pPr>
            <a:r>
              <a:rPr lang="de-DE" sz="1400" dirty="0">
                <a:solidFill>
                  <a:schemeClr val="tx1"/>
                </a:solidFill>
              </a:rPr>
              <a:t>Tools im Projekt</a:t>
            </a:r>
          </a:p>
          <a:p>
            <a:pPr marL="628650" lvl="1" indent="-285750">
              <a:spcBef>
                <a:spcPts val="600"/>
              </a:spcBef>
              <a:buFont typeface="Wingdings" panose="05000000000000000000" pitchFamily="2" charset="2"/>
              <a:buChar char="§"/>
            </a:pPr>
            <a:r>
              <a:rPr lang="de-DE" sz="1400" dirty="0">
                <a:solidFill>
                  <a:schemeClr val="tx1"/>
                </a:solidFill>
              </a:rPr>
              <a:t>Datenablage: MS SharePoint (www.projekt/kunde.de)</a:t>
            </a:r>
          </a:p>
          <a:p>
            <a:pPr marL="628650" lvl="1" indent="-285750">
              <a:spcBef>
                <a:spcPts val="600"/>
              </a:spcBef>
              <a:buFont typeface="Wingdings" panose="05000000000000000000" pitchFamily="2" charset="2"/>
              <a:buChar char="§"/>
            </a:pPr>
            <a:r>
              <a:rPr lang="de-DE" sz="1400" dirty="0">
                <a:solidFill>
                  <a:schemeClr val="tx1"/>
                </a:solidFill>
              </a:rPr>
              <a:t>Kommunikation: MS Teams</a:t>
            </a:r>
          </a:p>
          <a:p>
            <a:pPr marL="628650" lvl="1" indent="-285750">
              <a:spcBef>
                <a:spcPts val="600"/>
              </a:spcBef>
              <a:buFont typeface="Wingdings" panose="05000000000000000000" pitchFamily="2" charset="2"/>
              <a:buChar char="§"/>
            </a:pPr>
            <a:r>
              <a:rPr lang="de-DE" sz="1400" dirty="0">
                <a:solidFill>
                  <a:schemeClr val="tx1"/>
                </a:solidFill>
              </a:rPr>
              <a:t>Kanban-Board: Trello</a:t>
            </a:r>
          </a:p>
          <a:p>
            <a:pPr marL="628650" lvl="1" indent="-285750">
              <a:spcBef>
                <a:spcPts val="600"/>
              </a:spcBef>
              <a:buFont typeface="Wingdings" panose="05000000000000000000" pitchFamily="2" charset="2"/>
              <a:buChar char="§"/>
            </a:pPr>
            <a:r>
              <a:rPr lang="de-DE" sz="1400" dirty="0">
                <a:solidFill>
                  <a:schemeClr val="tx1"/>
                </a:solidFill>
              </a:rPr>
              <a:t>Workshop-Tool: Mural.co</a:t>
            </a:r>
          </a:p>
          <a:p>
            <a:pPr marL="628650" lvl="1" indent="-285750">
              <a:spcBef>
                <a:spcPts val="600"/>
              </a:spcBef>
              <a:buFont typeface="Wingdings" panose="05000000000000000000" pitchFamily="2" charset="2"/>
              <a:buChar char="§"/>
            </a:pPr>
            <a:r>
              <a:rPr lang="de-DE" sz="1400" dirty="0">
                <a:solidFill>
                  <a:schemeClr val="tx1"/>
                </a:solidFill>
              </a:rPr>
              <a:t>Templates auf MS SharePoint </a:t>
            </a:r>
            <a:r>
              <a:rPr lang="de-DE" sz="1400" dirty="0">
                <a:solidFill>
                  <a:schemeClr val="tx1"/>
                </a:solidFill>
                <a:sym typeface="Wingdings" panose="05000000000000000000" pitchFamily="2" charset="2"/>
              </a:rPr>
              <a:t> Admin</a:t>
            </a:r>
            <a:endParaRPr lang="de-DE" sz="1400" dirty="0">
              <a:solidFill>
                <a:schemeClr val="tx1"/>
              </a:solidFill>
            </a:endParaRPr>
          </a:p>
        </p:txBody>
      </p:sp>
      <p:sp>
        <p:nvSpPr>
          <p:cNvPr id="9" name="Rechteck 8">
            <a:extLst>
              <a:ext uri="{FF2B5EF4-FFF2-40B4-BE49-F238E27FC236}">
                <a16:creationId xmlns:a16="http://schemas.microsoft.com/office/drawing/2014/main" id="{4BFBE253-46C2-4A5A-B92B-D6E79BFB03EC}"/>
              </a:ext>
            </a:extLst>
          </p:cNvPr>
          <p:cNvSpPr/>
          <p:nvPr/>
        </p:nvSpPr>
        <p:spPr>
          <a:xfrm>
            <a:off x="6274963" y="1419206"/>
            <a:ext cx="5580000" cy="4071949"/>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285750" indent="-285750">
              <a:spcBef>
                <a:spcPts val="600"/>
              </a:spcBef>
              <a:buFont typeface="Wingdings" panose="05000000000000000000" pitchFamily="2" charset="2"/>
              <a:buChar char="§"/>
            </a:pPr>
            <a:r>
              <a:rPr lang="de-DE" sz="1400" dirty="0">
                <a:solidFill>
                  <a:schemeClr val="tx1"/>
                </a:solidFill>
              </a:rPr>
              <a:t>Priorisierung des Projekts über die Linientätigkeit</a:t>
            </a:r>
          </a:p>
          <a:p>
            <a:pPr marL="285750" indent="-285750">
              <a:spcBef>
                <a:spcPts val="600"/>
              </a:spcBef>
              <a:buFont typeface="Wingdings" panose="05000000000000000000" pitchFamily="2" charset="2"/>
              <a:buChar char="§"/>
            </a:pPr>
            <a:r>
              <a:rPr lang="de-DE" sz="1400" dirty="0">
                <a:solidFill>
                  <a:schemeClr val="tx1"/>
                </a:solidFill>
              </a:rPr>
              <a:t>Lieferung zugesagter Ergebnisse und Arbeiten</a:t>
            </a:r>
          </a:p>
          <a:p>
            <a:pPr marL="285750" indent="-285750">
              <a:spcBef>
                <a:spcPts val="600"/>
              </a:spcBef>
              <a:buFont typeface="Wingdings" panose="05000000000000000000" pitchFamily="2" charset="2"/>
              <a:buChar char="§"/>
            </a:pPr>
            <a:r>
              <a:rPr lang="de-DE" sz="1400" dirty="0">
                <a:solidFill>
                  <a:schemeClr val="tx1"/>
                </a:solidFill>
              </a:rPr>
              <a:t>Frühzeitiger Hinweis im Daily auf Risiken im Projekt und Teilprojekt (inkl. möglicher Lösungen bzw. Optionen)</a:t>
            </a:r>
          </a:p>
          <a:p>
            <a:pPr marL="285750" indent="-285750">
              <a:spcBef>
                <a:spcPts val="600"/>
              </a:spcBef>
              <a:buFont typeface="Wingdings" panose="05000000000000000000" pitchFamily="2" charset="2"/>
              <a:buChar char="§"/>
            </a:pPr>
            <a:r>
              <a:rPr lang="de-DE" sz="1400" dirty="0">
                <a:solidFill>
                  <a:schemeClr val="tx1"/>
                </a:solidFill>
              </a:rPr>
              <a:t>Befolgung der </a:t>
            </a:r>
            <a:r>
              <a:rPr lang="de-DE" sz="1400" b="1" dirty="0">
                <a:solidFill>
                  <a:schemeClr val="tx1"/>
                </a:solidFill>
              </a:rPr>
              <a:t>„Clean Desk Policy“ </a:t>
            </a:r>
            <a:r>
              <a:rPr lang="de-DE" sz="1400" dirty="0">
                <a:solidFill>
                  <a:schemeClr val="tx1"/>
                </a:solidFill>
              </a:rPr>
              <a:t>im Projekt</a:t>
            </a:r>
          </a:p>
          <a:p>
            <a:pPr marL="285750" indent="-285750">
              <a:spcBef>
                <a:spcPts val="600"/>
              </a:spcBef>
              <a:buFont typeface="Wingdings" panose="05000000000000000000" pitchFamily="2" charset="2"/>
              <a:buChar char="§"/>
            </a:pPr>
            <a:r>
              <a:rPr lang="de-DE" sz="1400" dirty="0">
                <a:solidFill>
                  <a:schemeClr val="tx1"/>
                </a:solidFill>
              </a:rPr>
              <a:t>Nutzung der zur Verfügung gestellten Templates und Standards (siehe Admin-Ordner auf dem SharePoint)</a:t>
            </a:r>
          </a:p>
          <a:p>
            <a:pPr marL="285750" indent="-285750">
              <a:spcBef>
                <a:spcPts val="600"/>
              </a:spcBef>
              <a:buFont typeface="Wingdings" panose="05000000000000000000" pitchFamily="2" charset="2"/>
              <a:buChar char="§"/>
            </a:pPr>
            <a:r>
              <a:rPr lang="de-DE" sz="1400" b="1" dirty="0">
                <a:solidFill>
                  <a:schemeClr val="tx1"/>
                </a:solidFill>
              </a:rPr>
              <a:t>Geheimhaltung</a:t>
            </a:r>
            <a:r>
              <a:rPr lang="de-DE" sz="1400" dirty="0">
                <a:solidFill>
                  <a:schemeClr val="tx1"/>
                </a:solidFill>
              </a:rPr>
              <a:t> des Projekts, da Restrukturierung</a:t>
            </a:r>
          </a:p>
        </p:txBody>
      </p:sp>
      <p:sp>
        <p:nvSpPr>
          <p:cNvPr id="10" name="Rechteck 9">
            <a:extLst>
              <a:ext uri="{FF2B5EF4-FFF2-40B4-BE49-F238E27FC236}">
                <a16:creationId xmlns:a16="http://schemas.microsoft.com/office/drawing/2014/main" id="{3ACAB96D-DB20-4C8B-9EBB-0774F4724985}"/>
              </a:ext>
            </a:extLst>
          </p:cNvPr>
          <p:cNvSpPr/>
          <p:nvPr/>
        </p:nvSpPr>
        <p:spPr>
          <a:xfrm>
            <a:off x="10954961" y="69705"/>
            <a:ext cx="900000" cy="252000"/>
          </a:xfrm>
          <a:prstGeom prst="rect">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b="1" dirty="0"/>
              <a:t>Entwurf</a:t>
            </a:r>
          </a:p>
        </p:txBody>
      </p:sp>
      <p:sp>
        <p:nvSpPr>
          <p:cNvPr id="14" name="Textplatzhalter 5">
            <a:extLst>
              <a:ext uri="{FF2B5EF4-FFF2-40B4-BE49-F238E27FC236}">
                <a16:creationId xmlns:a16="http://schemas.microsoft.com/office/drawing/2014/main" id="{5C72E5D2-7771-4140-BFED-FF15CDE01814}"/>
              </a:ext>
            </a:extLst>
          </p:cNvPr>
          <p:cNvSpPr txBox="1">
            <a:spLocks/>
          </p:cNvSpPr>
          <p:nvPr/>
        </p:nvSpPr>
        <p:spPr>
          <a:xfrm>
            <a:off x="334963" y="1122728"/>
            <a:ext cx="5580000" cy="215444"/>
          </a:xfrm>
          <a:prstGeom prst="rect">
            <a:avLst/>
          </a:prstGeom>
        </p:spPr>
        <p:txBody>
          <a:bodyPr vert="horz" wrap="square" lIns="0" tIns="0" rIns="0" bIns="0" rtlCol="0" anchor="b">
            <a:spAutoFit/>
          </a:bodyPr>
          <a:lstStyle>
            <a:lvl1pPr marL="0" indent="0" algn="l" defTabSz="914400" rtl="0" eaLnBrk="1" latinLnBrk="0" hangingPunct="1">
              <a:spcBef>
                <a:spcPts val="0"/>
              </a:spcBef>
              <a:spcAft>
                <a:spcPts val="0"/>
              </a:spcAft>
              <a:buFont typeface="Arial" pitchFamily="34" charset="0"/>
              <a:buNone/>
              <a:defRPr sz="1600" kern="1200">
                <a:solidFill>
                  <a:schemeClr val="tx1"/>
                </a:solidFill>
                <a:latin typeface="+mn-lt"/>
                <a:ea typeface="+mn-ea"/>
                <a:cs typeface="+mn-cs"/>
              </a:defRPr>
            </a:lvl1pPr>
            <a:lvl2pPr marL="144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2pPr>
            <a:lvl3pPr marL="288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3pPr>
            <a:lvl4pPr marL="432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4pPr>
            <a:lvl5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5pPr>
            <a:lvl6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6pPr>
            <a:lvl7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7pPr>
            <a:lvl8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8pPr>
            <a:lvl9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9pPr>
          </a:lstStyle>
          <a:p>
            <a:r>
              <a:rPr lang="de-DE" sz="1400" b="1" dirty="0"/>
              <a:t>Arbeitsmodus</a:t>
            </a:r>
          </a:p>
        </p:txBody>
      </p:sp>
      <p:sp>
        <p:nvSpPr>
          <p:cNvPr id="15" name="Textplatzhalter 5">
            <a:extLst>
              <a:ext uri="{FF2B5EF4-FFF2-40B4-BE49-F238E27FC236}">
                <a16:creationId xmlns:a16="http://schemas.microsoft.com/office/drawing/2014/main" id="{8B750425-9EAB-48C4-B4AC-B897B520CFD0}"/>
              </a:ext>
            </a:extLst>
          </p:cNvPr>
          <p:cNvSpPr txBox="1">
            <a:spLocks/>
          </p:cNvSpPr>
          <p:nvPr/>
        </p:nvSpPr>
        <p:spPr>
          <a:xfrm>
            <a:off x="6274963" y="1122728"/>
            <a:ext cx="5580000" cy="215444"/>
          </a:xfrm>
          <a:prstGeom prst="rect">
            <a:avLst/>
          </a:prstGeom>
        </p:spPr>
        <p:txBody>
          <a:bodyPr vert="horz" wrap="square" lIns="0" tIns="0" rIns="0" bIns="0" rtlCol="0" anchor="b">
            <a:spAutoFit/>
          </a:bodyPr>
          <a:lstStyle>
            <a:lvl1pPr marL="0" indent="0" algn="l" defTabSz="914400" rtl="0" eaLnBrk="1" latinLnBrk="0" hangingPunct="1">
              <a:spcBef>
                <a:spcPts val="0"/>
              </a:spcBef>
              <a:spcAft>
                <a:spcPts val="0"/>
              </a:spcAft>
              <a:buFont typeface="Arial" pitchFamily="34" charset="0"/>
              <a:buNone/>
              <a:defRPr sz="1600" kern="1200">
                <a:solidFill>
                  <a:schemeClr val="tx1"/>
                </a:solidFill>
                <a:latin typeface="+mn-lt"/>
                <a:ea typeface="+mn-ea"/>
                <a:cs typeface="+mn-cs"/>
              </a:defRPr>
            </a:lvl1pPr>
            <a:lvl2pPr marL="144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2pPr>
            <a:lvl3pPr marL="288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3pPr>
            <a:lvl4pPr marL="432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4pPr>
            <a:lvl5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5pPr>
            <a:lvl6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6pPr>
            <a:lvl7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7pPr>
            <a:lvl8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8pPr>
            <a:lvl9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9pPr>
          </a:lstStyle>
          <a:p>
            <a:r>
              <a:rPr lang="de-DE" sz="1400" b="1" dirty="0"/>
              <a:t>Projektregeln</a:t>
            </a:r>
          </a:p>
        </p:txBody>
      </p:sp>
      <p:cxnSp>
        <p:nvCxnSpPr>
          <p:cNvPr id="18" name="Gerader Verbinder 17">
            <a:extLst>
              <a:ext uri="{FF2B5EF4-FFF2-40B4-BE49-F238E27FC236}">
                <a16:creationId xmlns:a16="http://schemas.microsoft.com/office/drawing/2014/main" id="{E5AC3270-8429-4B44-B28A-7204C88EE77A}"/>
              </a:ext>
            </a:extLst>
          </p:cNvPr>
          <p:cNvCxnSpPr>
            <a:cxnSpLocks/>
          </p:cNvCxnSpPr>
          <p:nvPr/>
        </p:nvCxnSpPr>
        <p:spPr>
          <a:xfrm>
            <a:off x="334963" y="1366839"/>
            <a:ext cx="5580000" cy="0"/>
          </a:xfrm>
          <a:prstGeom prst="line">
            <a:avLst/>
          </a:prstGeom>
          <a:ln w="12700" cap="flat">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 name="Gerader Verbinder 19">
            <a:extLst>
              <a:ext uri="{FF2B5EF4-FFF2-40B4-BE49-F238E27FC236}">
                <a16:creationId xmlns:a16="http://schemas.microsoft.com/office/drawing/2014/main" id="{76E19607-D8AD-43B0-8F8A-01E94DA1EA88}"/>
              </a:ext>
            </a:extLst>
          </p:cNvPr>
          <p:cNvCxnSpPr>
            <a:cxnSpLocks/>
          </p:cNvCxnSpPr>
          <p:nvPr/>
        </p:nvCxnSpPr>
        <p:spPr>
          <a:xfrm>
            <a:off x="6274963" y="1366839"/>
            <a:ext cx="5580000" cy="0"/>
          </a:xfrm>
          <a:prstGeom prst="line">
            <a:avLst/>
          </a:prstGeom>
          <a:ln w="12700" cap="flat">
            <a:solidFill>
              <a:schemeClr val="tx1"/>
            </a:solidFill>
            <a:prstDash val="solid"/>
          </a:ln>
        </p:spPr>
        <p:style>
          <a:lnRef idx="1">
            <a:schemeClr val="accent1"/>
          </a:lnRef>
          <a:fillRef idx="0">
            <a:schemeClr val="accent1"/>
          </a:fillRef>
          <a:effectRef idx="0">
            <a:schemeClr val="accent1"/>
          </a:effectRef>
          <a:fontRef idx="minor">
            <a:schemeClr val="tx1"/>
          </a:fontRef>
        </p:style>
      </p:cxnSp>
      <p:sp>
        <p:nvSpPr>
          <p:cNvPr id="16" name="Textfeld 15">
            <a:extLst>
              <a:ext uri="{FF2B5EF4-FFF2-40B4-BE49-F238E27FC236}">
                <a16:creationId xmlns:a16="http://schemas.microsoft.com/office/drawing/2014/main" id="{06A5C974-0BBC-4E5A-952F-688BB0C3DEE7}"/>
              </a:ext>
            </a:extLst>
          </p:cNvPr>
          <p:cNvSpPr txBox="1"/>
          <p:nvPr/>
        </p:nvSpPr>
        <p:spPr>
          <a:xfrm>
            <a:off x="334963" y="6544666"/>
            <a:ext cx="1380506" cy="215444"/>
          </a:xfrm>
          <a:prstGeom prst="rect">
            <a:avLst/>
          </a:prstGeom>
          <a:noFill/>
        </p:spPr>
        <p:txBody>
          <a:bodyPr wrap="none" rtlCol="0" anchor="b">
            <a:spAutoFit/>
          </a:bodyPr>
          <a:lstStyle/>
          <a:p>
            <a:r>
              <a:rPr lang="de-DE" sz="800" dirty="0"/>
              <a:t>Quelle: Projektteam Phönix</a:t>
            </a:r>
          </a:p>
        </p:txBody>
      </p:sp>
    </p:spTree>
    <p:extLst>
      <p:ext uri="{BB962C8B-B14F-4D97-AF65-F5344CB8AC3E}">
        <p14:creationId xmlns:p14="http://schemas.microsoft.com/office/powerpoint/2010/main" val="37129484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kt 10" hidden="1">
            <a:extLst>
              <a:ext uri="{FF2B5EF4-FFF2-40B4-BE49-F238E27FC236}">
                <a16:creationId xmlns:a16="http://schemas.microsoft.com/office/drawing/2014/main" id="{EFB91133-0E2F-48F6-A178-B17E2BEC5EAB}"/>
              </a:ext>
            </a:extLst>
          </p:cNvPr>
          <p:cNvGraphicFramePr>
            <a:graphicFrameLocks noChangeAspect="1"/>
          </p:cNvGraphicFramePr>
          <p:nvPr>
            <p:custDataLst>
              <p:tags r:id="rId1"/>
            </p:custDataLst>
            <p:extLst>
              <p:ext uri="{D42A27DB-BD31-4B8C-83A1-F6EECF244321}">
                <p14:modId xmlns:p14="http://schemas.microsoft.com/office/powerpoint/2010/main" val="13282269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99" imgW="425" imgH="426" progId="TCLayout.ActiveDocument.1">
                  <p:embed/>
                </p:oleObj>
              </mc:Choice>
              <mc:Fallback>
                <p:oleObj name="think-cell Folie" r:id="rId99" imgW="425" imgH="426" progId="TCLayout.ActiveDocument.1">
                  <p:embed/>
                  <p:pic>
                    <p:nvPicPr>
                      <p:cNvPr id="11" name="Objekt 10" hidden="1">
                        <a:extLst>
                          <a:ext uri="{FF2B5EF4-FFF2-40B4-BE49-F238E27FC236}">
                            <a16:creationId xmlns:a16="http://schemas.microsoft.com/office/drawing/2014/main" id="{EFB91133-0E2F-48F6-A178-B17E2BEC5EAB}"/>
                          </a:ext>
                        </a:extLst>
                      </p:cNvPr>
                      <p:cNvPicPr/>
                      <p:nvPr/>
                    </p:nvPicPr>
                    <p:blipFill>
                      <a:blip r:embed="rId100"/>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2C72BAFB-38D4-4258-BA15-1CFBBCCB4463}"/>
              </a:ext>
            </a:extLst>
          </p:cNvPr>
          <p:cNvSpPr>
            <a:spLocks noGrp="1"/>
          </p:cNvSpPr>
          <p:nvPr>
            <p:ph type="title"/>
          </p:nvPr>
        </p:nvSpPr>
        <p:spPr>
          <a:xfrm>
            <a:off x="334963" y="333374"/>
            <a:ext cx="11520000" cy="540000"/>
          </a:xfrm>
        </p:spPr>
        <p:txBody>
          <a:bodyPr vert="horz"/>
          <a:lstStyle/>
          <a:p>
            <a:r>
              <a:rPr lang="de-DE" dirty="0"/>
              <a:t>Projektplan Projekt „Phönix“</a:t>
            </a:r>
          </a:p>
        </p:txBody>
      </p:sp>
      <p:sp>
        <p:nvSpPr>
          <p:cNvPr id="16" name="Rechteck 15">
            <a:extLst>
              <a:ext uri="{FF2B5EF4-FFF2-40B4-BE49-F238E27FC236}">
                <a16:creationId xmlns:a16="http://schemas.microsoft.com/office/drawing/2014/main" id="{246AECA5-5AA3-4F93-8285-CFF3EBD5518D}"/>
              </a:ext>
            </a:extLst>
          </p:cNvPr>
          <p:cNvSpPr/>
          <p:nvPr>
            <p:custDataLst>
              <p:tags r:id="rId2"/>
            </p:custDataLst>
          </p:nvPr>
        </p:nvSpPr>
        <p:spPr bwMode="auto">
          <a:xfrm>
            <a:off x="334962" y="2443163"/>
            <a:ext cx="11520488" cy="271463"/>
          </a:xfrm>
          <a:prstGeom prst="rect">
            <a:avLst/>
          </a:prstGeom>
          <a:solidFill>
            <a:srgbClr val="FFFFFF"/>
          </a:solidFill>
          <a:ln w="12700" cap="flat" cmpd="sng" algn="ctr">
            <a:noFill/>
            <a:prstDash val="solid"/>
            <a:round/>
            <a:headEnd type="none" w="med" len="med"/>
            <a:tailEnd type="none" w="med" len="med"/>
          </a:ln>
          <a:effectLst/>
          <a:extLst>
            <a:ext uri="{91240B29-F687-4F45-9708-019B960494DF}">
              <a14:hiddenLine xmlns:a14="http://schemas.microsoft.com/office/drawing/2010/main" w="12700" cap="flat" cmpd="sng" algn="ctr">
                <a:solidFill>
                  <a:schemeClr val="tx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36000" rIns="91440" bIns="0" numCol="1" spcCol="0" rtlCol="0" fromWordArt="0" anchor="ctr" anchorCtr="0" forceAA="0" compatLnSpc="1">
            <a:prstTxWarp prst="textNoShape">
              <a:avLst/>
            </a:prstTxWarp>
            <a:noAutofit/>
          </a:bodyPr>
          <a:lstStyle/>
          <a:p>
            <a:pPr algn="ctr"/>
            <a:endParaRPr lang="de-DE" sz="1600" dirty="0">
              <a:solidFill>
                <a:schemeClr val="tx1"/>
              </a:solidFill>
            </a:endParaRPr>
          </a:p>
        </p:txBody>
      </p:sp>
      <p:sp>
        <p:nvSpPr>
          <p:cNvPr id="22" name="Rechteck 21">
            <a:extLst>
              <a:ext uri="{FF2B5EF4-FFF2-40B4-BE49-F238E27FC236}">
                <a16:creationId xmlns:a16="http://schemas.microsoft.com/office/drawing/2014/main" id="{DF3F0177-EC75-44E9-9D4F-0AE18C5EFE56}"/>
              </a:ext>
            </a:extLst>
          </p:cNvPr>
          <p:cNvSpPr/>
          <p:nvPr>
            <p:custDataLst>
              <p:tags r:id="rId3"/>
            </p:custDataLst>
          </p:nvPr>
        </p:nvSpPr>
        <p:spPr bwMode="auto">
          <a:xfrm>
            <a:off x="334962" y="3009900"/>
            <a:ext cx="11520488" cy="271463"/>
          </a:xfrm>
          <a:prstGeom prst="rect">
            <a:avLst/>
          </a:prstGeom>
          <a:solidFill>
            <a:srgbClr val="FFFFFF"/>
          </a:solidFill>
          <a:ln w="12700" cap="flat" cmpd="sng" algn="ctr">
            <a:noFill/>
            <a:prstDash val="solid"/>
            <a:round/>
            <a:headEnd type="none" w="med" len="med"/>
            <a:tailEnd type="none" w="med" len="med"/>
          </a:ln>
          <a:effectLst/>
          <a:extLst>
            <a:ext uri="{91240B29-F687-4F45-9708-019B960494DF}">
              <a14:hiddenLine xmlns:a14="http://schemas.microsoft.com/office/drawing/2010/main" w="12700" cap="flat" cmpd="sng" algn="ctr">
                <a:solidFill>
                  <a:schemeClr val="tx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36000" rIns="91440" bIns="0" numCol="1" spcCol="0" rtlCol="0" fromWordArt="0" anchor="ctr" anchorCtr="0" forceAA="0" compatLnSpc="1">
            <a:prstTxWarp prst="textNoShape">
              <a:avLst/>
            </a:prstTxWarp>
            <a:noAutofit/>
          </a:bodyPr>
          <a:lstStyle/>
          <a:p>
            <a:pPr algn="ctr"/>
            <a:endParaRPr lang="de-DE" sz="1600" dirty="0">
              <a:solidFill>
                <a:schemeClr val="tx1"/>
              </a:solidFill>
            </a:endParaRPr>
          </a:p>
        </p:txBody>
      </p:sp>
      <p:sp>
        <p:nvSpPr>
          <p:cNvPr id="14" name="Rechteck 13">
            <a:extLst>
              <a:ext uri="{FF2B5EF4-FFF2-40B4-BE49-F238E27FC236}">
                <a16:creationId xmlns:a16="http://schemas.microsoft.com/office/drawing/2014/main" id="{C48851EE-CB2A-4D13-8A6C-9458FCF3BB97}"/>
              </a:ext>
            </a:extLst>
          </p:cNvPr>
          <p:cNvSpPr/>
          <p:nvPr>
            <p:custDataLst>
              <p:tags r:id="rId4"/>
            </p:custDataLst>
          </p:nvPr>
        </p:nvSpPr>
        <p:spPr bwMode="gray">
          <a:xfrm>
            <a:off x="334962" y="3798888"/>
            <a:ext cx="11520488" cy="295275"/>
          </a:xfrm>
          <a:prstGeom prst="rect">
            <a:avLst/>
          </a:prstGeom>
          <a:solidFill>
            <a:schemeClr val="accent1"/>
          </a:solidFill>
          <a:ln w="12700" cap="flat" cmpd="sng" algn="ctr">
            <a:noFill/>
            <a:prstDash val="solid"/>
            <a:round/>
            <a:headEnd type="none" w="med" len="med"/>
            <a:tailEnd type="none" w="med" len="med"/>
          </a:ln>
          <a:effectLst/>
          <a:extLst>
            <a:ext uri="{91240B29-F687-4F45-9708-019B960494DF}">
              <a14:hiddenLine xmlns:a14="http://schemas.microsoft.com/office/drawing/2010/main" w="12700" cap="flat" cmpd="sng" algn="ctr">
                <a:solidFill>
                  <a:schemeClr val="tx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36000" rIns="91440" bIns="0" numCol="1" spcCol="0" rtlCol="0" fromWordArt="0" anchor="ctr" anchorCtr="0" forceAA="0" compatLnSpc="1">
            <a:prstTxWarp prst="textNoShape">
              <a:avLst/>
            </a:prstTxWarp>
            <a:noAutofit/>
          </a:bodyPr>
          <a:lstStyle/>
          <a:p>
            <a:pPr marL="0" marR="0" lvl="0" indent="0" algn="ctr" defTabSz="1039033" rtl="0" eaLnBrk="1" fontAlgn="auto" latinLnBrk="0" hangingPunct="1">
              <a:lnSpc>
                <a:spcPct val="100000"/>
              </a:lnSpc>
              <a:spcBef>
                <a:spcPts val="0"/>
              </a:spcBef>
              <a:spcAft>
                <a:spcPts val="0"/>
              </a:spcAft>
              <a:buClrTx/>
              <a:buSzTx/>
              <a:buFontTx/>
              <a:buNone/>
              <a:tabLst/>
              <a:defRPr/>
            </a:pPr>
            <a:endParaRPr kumimoji="0" lang="de-DE" sz="16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21" name="Rechteck 20">
            <a:extLst>
              <a:ext uri="{FF2B5EF4-FFF2-40B4-BE49-F238E27FC236}">
                <a16:creationId xmlns:a16="http://schemas.microsoft.com/office/drawing/2014/main" id="{85B7EB05-D135-46AA-BD22-9398CECD5F8C}"/>
              </a:ext>
            </a:extLst>
          </p:cNvPr>
          <p:cNvSpPr/>
          <p:nvPr>
            <p:custDataLst>
              <p:tags r:id="rId5"/>
            </p:custDataLst>
          </p:nvPr>
        </p:nvSpPr>
        <p:spPr bwMode="gray">
          <a:xfrm>
            <a:off x="334962" y="2714625"/>
            <a:ext cx="11520488" cy="295275"/>
          </a:xfrm>
          <a:prstGeom prst="rect">
            <a:avLst/>
          </a:prstGeom>
          <a:solidFill>
            <a:schemeClr val="accent1"/>
          </a:solidFill>
          <a:ln w="12700" cap="flat" cmpd="sng" algn="ctr">
            <a:noFill/>
            <a:prstDash val="solid"/>
            <a:round/>
            <a:headEnd type="none" w="med" len="med"/>
            <a:tailEnd type="none" w="med" len="med"/>
          </a:ln>
          <a:effectLst/>
          <a:extLst>
            <a:ext uri="{91240B29-F687-4F45-9708-019B960494DF}">
              <a14:hiddenLine xmlns:a14="http://schemas.microsoft.com/office/drawing/2010/main" w="12700" cap="flat" cmpd="sng" algn="ctr">
                <a:solidFill>
                  <a:schemeClr val="tx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36000" rIns="91440" bIns="0" numCol="1" spcCol="0" rtlCol="0" fromWordArt="0" anchor="ctr" anchorCtr="0" forceAA="0" compatLnSpc="1">
            <a:prstTxWarp prst="textNoShape">
              <a:avLst/>
            </a:prstTxWarp>
            <a:noAutofit/>
          </a:bodyPr>
          <a:lstStyle/>
          <a:p>
            <a:pPr marL="0" marR="0" lvl="0" indent="0" algn="ctr" defTabSz="1039033" rtl="0" eaLnBrk="1" fontAlgn="auto" latinLnBrk="0" hangingPunct="1">
              <a:lnSpc>
                <a:spcPct val="100000"/>
              </a:lnSpc>
              <a:spcBef>
                <a:spcPts val="0"/>
              </a:spcBef>
              <a:spcAft>
                <a:spcPts val="0"/>
              </a:spcAft>
              <a:buClrTx/>
              <a:buSzTx/>
              <a:buFontTx/>
              <a:buNone/>
              <a:tabLst/>
              <a:defRPr/>
            </a:pPr>
            <a:endParaRPr kumimoji="0" lang="de-DE" sz="16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20" name="Rechteck 19">
            <a:extLst>
              <a:ext uri="{FF2B5EF4-FFF2-40B4-BE49-F238E27FC236}">
                <a16:creationId xmlns:a16="http://schemas.microsoft.com/office/drawing/2014/main" id="{92FE94BD-331E-46C9-8447-9957C39AA768}"/>
              </a:ext>
            </a:extLst>
          </p:cNvPr>
          <p:cNvSpPr/>
          <p:nvPr>
            <p:custDataLst>
              <p:tags r:id="rId6"/>
            </p:custDataLst>
          </p:nvPr>
        </p:nvSpPr>
        <p:spPr bwMode="gray">
          <a:xfrm>
            <a:off x="334962" y="4884738"/>
            <a:ext cx="11520488" cy="295275"/>
          </a:xfrm>
          <a:prstGeom prst="rect">
            <a:avLst/>
          </a:prstGeom>
          <a:solidFill>
            <a:schemeClr val="accent1"/>
          </a:solidFill>
          <a:ln w="12700" cap="flat" cmpd="sng" algn="ctr">
            <a:noFill/>
            <a:prstDash val="solid"/>
            <a:round/>
            <a:headEnd type="none" w="med" len="med"/>
            <a:tailEnd type="none" w="med" len="med"/>
          </a:ln>
          <a:effectLst/>
          <a:extLst>
            <a:ext uri="{91240B29-F687-4F45-9708-019B960494DF}">
              <a14:hiddenLine xmlns:a14="http://schemas.microsoft.com/office/drawing/2010/main" w="12700" cap="flat" cmpd="sng" algn="ctr">
                <a:solidFill>
                  <a:schemeClr val="tx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36000" rIns="91440" bIns="0" numCol="1" spcCol="0" rtlCol="0" fromWordArt="0" anchor="ctr" anchorCtr="0" forceAA="0" compatLnSpc="1">
            <a:prstTxWarp prst="textNoShape">
              <a:avLst/>
            </a:prstTxWarp>
            <a:noAutofit/>
          </a:bodyPr>
          <a:lstStyle/>
          <a:p>
            <a:pPr marL="0" marR="0" lvl="0" indent="0" algn="ctr" defTabSz="1039033" rtl="0" eaLnBrk="1" fontAlgn="auto" latinLnBrk="0" hangingPunct="1">
              <a:lnSpc>
                <a:spcPct val="100000"/>
              </a:lnSpc>
              <a:spcBef>
                <a:spcPts val="0"/>
              </a:spcBef>
              <a:spcAft>
                <a:spcPts val="0"/>
              </a:spcAft>
              <a:buClrTx/>
              <a:buSzTx/>
              <a:buFontTx/>
              <a:buNone/>
              <a:tabLst/>
              <a:defRPr/>
            </a:pPr>
            <a:endParaRPr kumimoji="0" lang="de-DE" sz="16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17" name="Rechteck 16">
            <a:extLst>
              <a:ext uri="{FF2B5EF4-FFF2-40B4-BE49-F238E27FC236}">
                <a16:creationId xmlns:a16="http://schemas.microsoft.com/office/drawing/2014/main" id="{53E48679-E310-4671-8B50-924D97A9F850}"/>
              </a:ext>
            </a:extLst>
          </p:cNvPr>
          <p:cNvSpPr/>
          <p:nvPr>
            <p:custDataLst>
              <p:tags r:id="rId7"/>
            </p:custDataLst>
          </p:nvPr>
        </p:nvSpPr>
        <p:spPr bwMode="auto">
          <a:xfrm>
            <a:off x="334962" y="1924050"/>
            <a:ext cx="11520488" cy="271463"/>
          </a:xfrm>
          <a:prstGeom prst="rect">
            <a:avLst/>
          </a:prstGeom>
          <a:solidFill>
            <a:schemeClr val="bg1"/>
          </a:solidFill>
          <a:ln w="12700" cap="flat" cmpd="sng" algn="ctr">
            <a:noFill/>
            <a:prstDash val="solid"/>
            <a:round/>
            <a:headEnd type="none" w="med" len="med"/>
            <a:tailEnd type="none" w="med" len="med"/>
          </a:ln>
          <a:effectLst/>
          <a:extLst>
            <a:ext uri="{91240B29-F687-4F45-9708-019B960494DF}">
              <a14:hiddenLine xmlns:a14="http://schemas.microsoft.com/office/drawing/2010/main" w="12700" cap="flat" cmpd="sng" algn="ctr">
                <a:solidFill>
                  <a:schemeClr val="tx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36000" rIns="91440" bIns="0" numCol="1" spcCol="0" rtlCol="0" fromWordArt="0" anchor="ctr" anchorCtr="0" forceAA="0" compatLnSpc="1">
            <a:prstTxWarp prst="textNoShape">
              <a:avLst/>
            </a:prstTxWarp>
            <a:noAutofit/>
          </a:bodyPr>
          <a:lstStyle/>
          <a:p>
            <a:pPr algn="ctr"/>
            <a:endParaRPr lang="de-DE" sz="1600" dirty="0">
              <a:solidFill>
                <a:schemeClr val="tx1"/>
              </a:solidFill>
            </a:endParaRPr>
          </a:p>
        </p:txBody>
      </p:sp>
      <p:sp>
        <p:nvSpPr>
          <p:cNvPr id="25" name="Rechteck 24">
            <a:extLst>
              <a:ext uri="{FF2B5EF4-FFF2-40B4-BE49-F238E27FC236}">
                <a16:creationId xmlns:a16="http://schemas.microsoft.com/office/drawing/2014/main" id="{6D818E80-2D61-4BB3-B798-26E07B07EE65}"/>
              </a:ext>
            </a:extLst>
          </p:cNvPr>
          <p:cNvSpPr/>
          <p:nvPr>
            <p:custDataLst>
              <p:tags r:id="rId8"/>
            </p:custDataLst>
          </p:nvPr>
        </p:nvSpPr>
        <p:spPr bwMode="auto">
          <a:xfrm>
            <a:off x="334962" y="4094163"/>
            <a:ext cx="11520488" cy="271463"/>
          </a:xfrm>
          <a:prstGeom prst="rect">
            <a:avLst/>
          </a:prstGeom>
          <a:solidFill>
            <a:srgbClr val="FFFFFF"/>
          </a:solidFill>
          <a:ln w="12700" cap="flat" cmpd="sng" algn="ctr">
            <a:noFill/>
            <a:prstDash val="solid"/>
            <a:round/>
            <a:headEnd type="none" w="med" len="med"/>
            <a:tailEnd type="none" w="med" len="med"/>
          </a:ln>
          <a:effectLst/>
          <a:extLst>
            <a:ext uri="{91240B29-F687-4F45-9708-019B960494DF}">
              <a14:hiddenLine xmlns:a14="http://schemas.microsoft.com/office/drawing/2010/main" w="12700" cap="flat" cmpd="sng" algn="ctr">
                <a:solidFill>
                  <a:schemeClr val="tx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36000" rIns="91440" bIns="0" numCol="1" spcCol="0" rtlCol="0" fromWordArt="0" anchor="ctr" anchorCtr="0" forceAA="0" compatLnSpc="1">
            <a:prstTxWarp prst="textNoShape">
              <a:avLst/>
            </a:prstTxWarp>
            <a:noAutofit/>
          </a:bodyPr>
          <a:lstStyle/>
          <a:p>
            <a:pPr algn="ctr"/>
            <a:endParaRPr lang="de-DE" sz="1600" dirty="0">
              <a:solidFill>
                <a:schemeClr val="tx1"/>
              </a:solidFill>
            </a:endParaRPr>
          </a:p>
        </p:txBody>
      </p:sp>
      <p:sp>
        <p:nvSpPr>
          <p:cNvPr id="10" name="Rechteck 9">
            <a:extLst>
              <a:ext uri="{FF2B5EF4-FFF2-40B4-BE49-F238E27FC236}">
                <a16:creationId xmlns:a16="http://schemas.microsoft.com/office/drawing/2014/main" id="{B2B12467-E2CF-4618-8B9B-3D3C89097693}"/>
              </a:ext>
            </a:extLst>
          </p:cNvPr>
          <p:cNvSpPr/>
          <p:nvPr>
            <p:custDataLst>
              <p:tags r:id="rId9"/>
            </p:custDataLst>
          </p:nvPr>
        </p:nvSpPr>
        <p:spPr bwMode="auto">
          <a:xfrm>
            <a:off x="334962" y="3529013"/>
            <a:ext cx="11520488" cy="269875"/>
          </a:xfrm>
          <a:prstGeom prst="rect">
            <a:avLst/>
          </a:prstGeom>
          <a:solidFill>
            <a:srgbClr val="FFFFFF"/>
          </a:solidFill>
          <a:ln w="12700" cap="flat" cmpd="sng" algn="ctr">
            <a:noFill/>
            <a:prstDash val="solid"/>
            <a:round/>
            <a:headEnd type="none" w="med" len="med"/>
            <a:tailEnd type="none" w="med" len="med"/>
          </a:ln>
          <a:effectLst/>
          <a:extLst>
            <a:ext uri="{91240B29-F687-4F45-9708-019B960494DF}">
              <a14:hiddenLine xmlns:a14="http://schemas.microsoft.com/office/drawing/2010/main" w="12700" cap="flat" cmpd="sng" algn="ctr">
                <a:solidFill>
                  <a:schemeClr val="tx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36000" rIns="91440" bIns="0" numCol="1" spcCol="0" rtlCol="0" fromWordArt="0" anchor="ctr" anchorCtr="0" forceAA="0" compatLnSpc="1">
            <a:prstTxWarp prst="textNoShape">
              <a:avLst/>
            </a:prstTxWarp>
            <a:noAutofit/>
          </a:bodyPr>
          <a:lstStyle/>
          <a:p>
            <a:pPr algn="ctr"/>
            <a:endParaRPr lang="de-DE" sz="1600" dirty="0">
              <a:solidFill>
                <a:schemeClr val="tx1"/>
              </a:solidFill>
            </a:endParaRPr>
          </a:p>
        </p:txBody>
      </p:sp>
      <p:sp>
        <p:nvSpPr>
          <p:cNvPr id="24" name="Rechteck 23">
            <a:extLst>
              <a:ext uri="{FF2B5EF4-FFF2-40B4-BE49-F238E27FC236}">
                <a16:creationId xmlns:a16="http://schemas.microsoft.com/office/drawing/2014/main" id="{8778D45C-531B-4143-AA09-1E71A06BFBC3}"/>
              </a:ext>
            </a:extLst>
          </p:cNvPr>
          <p:cNvSpPr/>
          <p:nvPr>
            <p:custDataLst>
              <p:tags r:id="rId10"/>
            </p:custDataLst>
          </p:nvPr>
        </p:nvSpPr>
        <p:spPr bwMode="auto">
          <a:xfrm>
            <a:off x="334962" y="4365624"/>
            <a:ext cx="11520488" cy="247650"/>
          </a:xfrm>
          <a:prstGeom prst="rect">
            <a:avLst/>
          </a:prstGeom>
          <a:solidFill>
            <a:srgbClr val="FFFFFF"/>
          </a:solidFill>
          <a:ln w="12700" cap="flat" cmpd="sng" algn="ctr">
            <a:noFill/>
            <a:prstDash val="solid"/>
            <a:round/>
            <a:headEnd type="none" w="med" len="med"/>
            <a:tailEnd type="none" w="med" len="med"/>
          </a:ln>
          <a:effectLst/>
          <a:extLst>
            <a:ext uri="{91240B29-F687-4F45-9708-019B960494DF}">
              <a14:hiddenLine xmlns:a14="http://schemas.microsoft.com/office/drawing/2010/main" w="12700" cap="flat" cmpd="sng" algn="ctr">
                <a:solidFill>
                  <a:schemeClr val="tx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36000" rIns="91440" bIns="0" numCol="1" spcCol="0" rtlCol="0" fromWordArt="0" anchor="ctr" anchorCtr="0" forceAA="0" compatLnSpc="1">
            <a:prstTxWarp prst="textNoShape">
              <a:avLst/>
            </a:prstTxWarp>
            <a:noAutofit/>
          </a:bodyPr>
          <a:lstStyle/>
          <a:p>
            <a:pPr algn="ctr"/>
            <a:endParaRPr lang="de-DE" sz="1600" dirty="0">
              <a:solidFill>
                <a:schemeClr val="tx1"/>
              </a:solidFill>
            </a:endParaRPr>
          </a:p>
        </p:txBody>
      </p:sp>
      <p:sp>
        <p:nvSpPr>
          <p:cNvPr id="12" name="Rechteck 11">
            <a:extLst>
              <a:ext uri="{FF2B5EF4-FFF2-40B4-BE49-F238E27FC236}">
                <a16:creationId xmlns:a16="http://schemas.microsoft.com/office/drawing/2014/main" id="{6BC6B75F-5167-4CCC-B67C-10A67E78901E}"/>
              </a:ext>
            </a:extLst>
          </p:cNvPr>
          <p:cNvSpPr/>
          <p:nvPr>
            <p:custDataLst>
              <p:tags r:id="rId11"/>
            </p:custDataLst>
          </p:nvPr>
        </p:nvSpPr>
        <p:spPr bwMode="auto">
          <a:xfrm>
            <a:off x="334962" y="2195512"/>
            <a:ext cx="11520488" cy="247650"/>
          </a:xfrm>
          <a:prstGeom prst="rect">
            <a:avLst/>
          </a:prstGeom>
          <a:solidFill>
            <a:schemeClr val="bg1"/>
          </a:solidFill>
          <a:ln w="12700" cap="flat" cmpd="sng" algn="ctr">
            <a:noFill/>
            <a:prstDash val="solid"/>
            <a:round/>
            <a:headEnd type="none" w="med" len="med"/>
            <a:tailEnd type="none" w="med" len="med"/>
          </a:ln>
          <a:effectLst/>
          <a:extLst>
            <a:ext uri="{91240B29-F687-4F45-9708-019B960494DF}">
              <a14:hiddenLine xmlns:a14="http://schemas.microsoft.com/office/drawing/2010/main" w="12700" cap="flat" cmpd="sng" algn="ctr">
                <a:solidFill>
                  <a:schemeClr val="tx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36000" rIns="91440" bIns="0" numCol="1" spcCol="0" rtlCol="0" fromWordArt="0" anchor="ctr" anchorCtr="0" forceAA="0" compatLnSpc="1">
            <a:prstTxWarp prst="textNoShape">
              <a:avLst/>
            </a:prstTxWarp>
            <a:noAutofit/>
          </a:bodyPr>
          <a:lstStyle/>
          <a:p>
            <a:pPr algn="ctr"/>
            <a:endParaRPr lang="de-DE" sz="1600" dirty="0">
              <a:solidFill>
                <a:schemeClr val="tx1"/>
              </a:solidFill>
            </a:endParaRPr>
          </a:p>
        </p:txBody>
      </p:sp>
      <p:sp>
        <p:nvSpPr>
          <p:cNvPr id="23" name="Rechteck 22">
            <a:extLst>
              <a:ext uri="{FF2B5EF4-FFF2-40B4-BE49-F238E27FC236}">
                <a16:creationId xmlns:a16="http://schemas.microsoft.com/office/drawing/2014/main" id="{7B58283D-D9EE-4AD1-835F-384EB2BE05C4}"/>
              </a:ext>
            </a:extLst>
          </p:cNvPr>
          <p:cNvSpPr/>
          <p:nvPr>
            <p:custDataLst>
              <p:tags r:id="rId12"/>
            </p:custDataLst>
          </p:nvPr>
        </p:nvSpPr>
        <p:spPr bwMode="auto">
          <a:xfrm>
            <a:off x="334962" y="5180013"/>
            <a:ext cx="11520488" cy="295275"/>
          </a:xfrm>
          <a:prstGeom prst="rect">
            <a:avLst/>
          </a:prstGeom>
          <a:solidFill>
            <a:srgbClr val="FFFFFF"/>
          </a:solidFill>
          <a:ln w="12700" cap="flat" cmpd="sng" algn="ctr">
            <a:noFill/>
            <a:prstDash val="solid"/>
            <a:round/>
            <a:headEnd type="none" w="med" len="med"/>
            <a:tailEnd type="none" w="med" len="med"/>
          </a:ln>
          <a:effectLst/>
          <a:extLst>
            <a:ext uri="{91240B29-F687-4F45-9708-019B960494DF}">
              <a14:hiddenLine xmlns:a14="http://schemas.microsoft.com/office/drawing/2010/main" w="12700" cap="flat" cmpd="sng" algn="ctr">
                <a:solidFill>
                  <a:schemeClr val="tx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36000" rIns="91440" bIns="0" numCol="1" spcCol="0" rtlCol="0" fromWordArt="0" anchor="ctr" anchorCtr="0" forceAA="0" compatLnSpc="1">
            <a:prstTxWarp prst="textNoShape">
              <a:avLst/>
            </a:prstTxWarp>
            <a:noAutofit/>
          </a:bodyPr>
          <a:lstStyle/>
          <a:p>
            <a:pPr algn="ctr"/>
            <a:endParaRPr lang="de-DE" sz="1600" dirty="0">
              <a:solidFill>
                <a:schemeClr val="tx1"/>
              </a:solidFill>
            </a:endParaRPr>
          </a:p>
        </p:txBody>
      </p:sp>
      <p:sp>
        <p:nvSpPr>
          <p:cNvPr id="13" name="Rechteck 12">
            <a:extLst>
              <a:ext uri="{FF2B5EF4-FFF2-40B4-BE49-F238E27FC236}">
                <a16:creationId xmlns:a16="http://schemas.microsoft.com/office/drawing/2014/main" id="{EB5B9E14-C06D-4CE2-969A-11EA2AA61AFF}"/>
              </a:ext>
            </a:extLst>
          </p:cNvPr>
          <p:cNvSpPr/>
          <p:nvPr>
            <p:custDataLst>
              <p:tags r:id="rId13"/>
            </p:custDataLst>
          </p:nvPr>
        </p:nvSpPr>
        <p:spPr bwMode="auto">
          <a:xfrm>
            <a:off x="334962" y="4613275"/>
            <a:ext cx="11520488" cy="271463"/>
          </a:xfrm>
          <a:prstGeom prst="rect">
            <a:avLst/>
          </a:prstGeom>
          <a:solidFill>
            <a:srgbClr val="FFFFFF"/>
          </a:solidFill>
          <a:ln w="12700" cap="flat" cmpd="sng" algn="ctr">
            <a:noFill/>
            <a:prstDash val="solid"/>
            <a:round/>
            <a:headEnd type="none" w="med" len="med"/>
            <a:tailEnd type="none" w="med" len="med"/>
          </a:ln>
          <a:effectLst/>
          <a:extLst>
            <a:ext uri="{91240B29-F687-4F45-9708-019B960494DF}">
              <a14:hiddenLine xmlns:a14="http://schemas.microsoft.com/office/drawing/2010/main" w="12700" cap="flat" cmpd="sng" algn="ctr">
                <a:solidFill>
                  <a:schemeClr val="tx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36000" rIns="91440" bIns="0" numCol="1" spcCol="0" rtlCol="0" fromWordArt="0" anchor="ctr" anchorCtr="0" forceAA="0" compatLnSpc="1">
            <a:prstTxWarp prst="textNoShape">
              <a:avLst/>
            </a:prstTxWarp>
            <a:noAutofit/>
          </a:bodyPr>
          <a:lstStyle/>
          <a:p>
            <a:pPr algn="ctr"/>
            <a:endParaRPr lang="de-DE" sz="1600" dirty="0">
              <a:solidFill>
                <a:schemeClr val="tx1"/>
              </a:solidFill>
            </a:endParaRPr>
          </a:p>
        </p:txBody>
      </p:sp>
      <p:sp>
        <p:nvSpPr>
          <p:cNvPr id="18" name="Rechteck 17">
            <a:extLst>
              <a:ext uri="{FF2B5EF4-FFF2-40B4-BE49-F238E27FC236}">
                <a16:creationId xmlns:a16="http://schemas.microsoft.com/office/drawing/2014/main" id="{BF08E376-DB4A-4448-8BE3-098EC9D62149}"/>
              </a:ext>
            </a:extLst>
          </p:cNvPr>
          <p:cNvSpPr/>
          <p:nvPr>
            <p:custDataLst>
              <p:tags r:id="rId14"/>
            </p:custDataLst>
          </p:nvPr>
        </p:nvSpPr>
        <p:spPr bwMode="gray">
          <a:xfrm>
            <a:off x="334962" y="1628775"/>
            <a:ext cx="11520488" cy="29527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39033" rtl="0" eaLnBrk="1" fontAlgn="auto" latinLnBrk="0" hangingPunct="1">
              <a:lnSpc>
                <a:spcPct val="100000"/>
              </a:lnSpc>
              <a:spcBef>
                <a:spcPts val="0"/>
              </a:spcBef>
              <a:spcAft>
                <a:spcPts val="0"/>
              </a:spcAft>
              <a:buClrTx/>
              <a:buSzTx/>
              <a:buFontTx/>
              <a:buNone/>
              <a:tabLst/>
              <a:defRPr/>
            </a:pPr>
            <a:endParaRPr kumimoji="0" lang="de-DE" sz="2400" b="0" i="0" u="none" strike="noStrike" kern="1200" cap="none" spc="0" normalizeH="0" baseline="0" noProof="0" dirty="0">
              <a:ln>
                <a:noFill/>
              </a:ln>
              <a:solidFill>
                <a:srgbClr val="FFFFFF"/>
              </a:solidFill>
              <a:effectLst/>
              <a:uLnTx/>
              <a:uFillTx/>
              <a:latin typeface="Arial"/>
              <a:ea typeface="+mn-ea"/>
              <a:cs typeface="+mn-cs"/>
            </a:endParaRPr>
          </a:p>
        </p:txBody>
      </p:sp>
      <p:sp>
        <p:nvSpPr>
          <p:cNvPr id="15" name="Rechteck 14">
            <a:extLst>
              <a:ext uri="{FF2B5EF4-FFF2-40B4-BE49-F238E27FC236}">
                <a16:creationId xmlns:a16="http://schemas.microsoft.com/office/drawing/2014/main" id="{D96D663F-B1ED-477E-8D6D-B626FC1E1FFB}"/>
              </a:ext>
            </a:extLst>
          </p:cNvPr>
          <p:cNvSpPr/>
          <p:nvPr>
            <p:custDataLst>
              <p:tags r:id="rId15"/>
            </p:custDataLst>
          </p:nvPr>
        </p:nvSpPr>
        <p:spPr bwMode="auto">
          <a:xfrm>
            <a:off x="334962" y="3281362"/>
            <a:ext cx="11520488" cy="247650"/>
          </a:xfrm>
          <a:prstGeom prst="rect">
            <a:avLst/>
          </a:prstGeom>
          <a:solidFill>
            <a:srgbClr val="FFFFFF"/>
          </a:solidFill>
          <a:ln w="12700" cap="flat" cmpd="sng" algn="ctr">
            <a:noFill/>
            <a:prstDash val="solid"/>
            <a:round/>
            <a:headEnd type="none" w="med" len="med"/>
            <a:tailEnd type="none" w="med" len="med"/>
          </a:ln>
          <a:effectLst/>
          <a:extLst>
            <a:ext uri="{91240B29-F687-4F45-9708-019B960494DF}">
              <a14:hiddenLine xmlns:a14="http://schemas.microsoft.com/office/drawing/2010/main" w="12700" cap="flat" cmpd="sng" algn="ctr">
                <a:solidFill>
                  <a:schemeClr val="tx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36000" rIns="91440" bIns="0" numCol="1" spcCol="0" rtlCol="0" fromWordArt="0" anchor="ctr" anchorCtr="0" forceAA="0" compatLnSpc="1">
            <a:prstTxWarp prst="textNoShape">
              <a:avLst/>
            </a:prstTxWarp>
            <a:noAutofit/>
          </a:bodyPr>
          <a:lstStyle/>
          <a:p>
            <a:pPr algn="ctr"/>
            <a:endParaRPr lang="de-DE" sz="1600" dirty="0">
              <a:solidFill>
                <a:schemeClr val="tx1"/>
              </a:solidFill>
            </a:endParaRPr>
          </a:p>
        </p:txBody>
      </p:sp>
      <p:sp>
        <p:nvSpPr>
          <p:cNvPr id="111" name="Rechteck 110">
            <a:extLst>
              <a:ext uri="{FF2B5EF4-FFF2-40B4-BE49-F238E27FC236}">
                <a16:creationId xmlns:a16="http://schemas.microsoft.com/office/drawing/2014/main" id="{B49008E2-9B14-4CD2-81BE-47B5B531A725}"/>
              </a:ext>
            </a:extLst>
          </p:cNvPr>
          <p:cNvSpPr/>
          <p:nvPr>
            <p:custDataLst>
              <p:tags r:id="rId16"/>
            </p:custDataLst>
          </p:nvPr>
        </p:nvSpPr>
        <p:spPr bwMode="auto">
          <a:xfrm>
            <a:off x="4910138" y="1628774"/>
            <a:ext cx="506413" cy="4141788"/>
          </a:xfrm>
          <a:prstGeom prst="rect">
            <a:avLst/>
          </a:prstGeom>
          <a:solidFill>
            <a:schemeClr val="bg2"/>
          </a:solid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24" name="Textplatzhalter 2">
            <a:extLst>
              <a:ext uri="{FF2B5EF4-FFF2-40B4-BE49-F238E27FC236}">
                <a16:creationId xmlns:a16="http://schemas.microsoft.com/office/drawing/2014/main" id="{F4E15F34-512A-4B61-8956-7927BCB97F9D}"/>
              </a:ext>
            </a:extLst>
          </p:cNvPr>
          <p:cNvSpPr>
            <a:spLocks noGrp="1"/>
          </p:cNvSpPr>
          <p:nvPr>
            <p:custDataLst>
              <p:tags r:id="rId17"/>
            </p:custDataLst>
          </p:nvPr>
        </p:nvSpPr>
        <p:spPr bwMode="gray">
          <a:xfrm>
            <a:off x="1870074" y="1258888"/>
            <a:ext cx="8864600" cy="200025"/>
          </a:xfrm>
          <a:prstGeom prst="rect">
            <a:avLst/>
          </a:prstGeom>
          <a:solidFill>
            <a:schemeClr val="tx1"/>
          </a:solidFill>
          <a:ln w="9525" algn="ctr">
            <a:solidFill>
              <a:schemeClr val="tx1"/>
            </a:solidFill>
          </a:ln>
        </p:spPr>
        <p:txBody>
          <a:bodyPr vert="horz" wrap="none" lIns="0" tIns="23813" rIns="0" bIns="23813" numCol="1" spcCol="0" rtlCol="0" anchor="ctr" anchorCtr="0">
            <a:noAutofit/>
          </a:bodyPr>
          <a:lstStyle>
            <a:lvl1pPr marL="0" indent="0" algn="l" defTabSz="914400" rtl="0" eaLnBrk="1" latinLnBrk="0" hangingPunct="1">
              <a:spcBef>
                <a:spcPts val="0"/>
              </a:spcBef>
              <a:spcAft>
                <a:spcPts val="0"/>
              </a:spcAft>
              <a:buFont typeface="Arial" pitchFamily="34" charset="0"/>
              <a:buNone/>
              <a:defRPr sz="1600" kern="1200">
                <a:solidFill>
                  <a:schemeClr val="tx1"/>
                </a:solidFill>
                <a:latin typeface="+mn-lt"/>
                <a:ea typeface="+mn-ea"/>
                <a:cs typeface="+mn-cs"/>
              </a:defRPr>
            </a:lvl1pPr>
            <a:lvl2pPr marL="144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2pPr>
            <a:lvl3pPr marL="288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3pPr>
            <a:lvl4pPr marL="432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4pPr>
            <a:lvl5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5pPr>
            <a:lvl6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6pPr>
            <a:lvl7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7pPr>
            <a:lvl8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8pPr>
            <a:lvl9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9pPr>
          </a:lstStyle>
          <a:p>
            <a:pPr lvl="0" algn="ctr">
              <a:spcBef>
                <a:spcPct val="0"/>
              </a:spcBef>
              <a:spcAft>
                <a:spcPct val="0"/>
              </a:spcAft>
              <a:defRPr/>
            </a:pPr>
            <a:fld id="{9AE9517D-028E-4BFC-ADC6-226437FA9367}" type="datetime'''''2''''''''''0''''''''''''''''''''''2''''''''''1'">
              <a:rPr lang="de-DE" altLang="en-US" sz="1000" b="1" smtClean="0">
                <a:solidFill>
                  <a:srgbClr val="FFFFFF"/>
                </a:solidFill>
                <a:effectLst/>
              </a:rPr>
              <a:pPr/>
              <a:t>2021</a:t>
            </a:fld>
            <a:endParaRPr kumimoji="0" lang="en-US" sz="1000" b="1" i="0" strike="noStrike" kern="1200" spc="0" normalizeH="0" noProof="0" dirty="0">
              <a:ln>
                <a:noFill/>
              </a:ln>
              <a:solidFill>
                <a:srgbClr val="FFFFFF"/>
              </a:solidFill>
              <a:effectLst/>
              <a:uLnTx/>
              <a:uFillTx/>
              <a:sym typeface="+mn-lt"/>
            </a:endParaRPr>
          </a:p>
        </p:txBody>
      </p:sp>
      <p:sp>
        <p:nvSpPr>
          <p:cNvPr id="116" name="Textplatzhalter 2">
            <a:extLst>
              <a:ext uri="{FF2B5EF4-FFF2-40B4-BE49-F238E27FC236}">
                <a16:creationId xmlns:a16="http://schemas.microsoft.com/office/drawing/2014/main" id="{36D2596B-6E27-49AB-B329-466D3225F605}"/>
              </a:ext>
            </a:extLst>
          </p:cNvPr>
          <p:cNvSpPr>
            <a:spLocks noGrp="1"/>
          </p:cNvSpPr>
          <p:nvPr>
            <p:custDataLst>
              <p:tags r:id="rId18"/>
            </p:custDataLst>
          </p:nvPr>
        </p:nvSpPr>
        <p:spPr bwMode="gray">
          <a:xfrm>
            <a:off x="1870075" y="1458913"/>
            <a:ext cx="1063625" cy="169863"/>
          </a:xfrm>
          <a:prstGeom prst="rect">
            <a:avLst/>
          </a:prstGeom>
          <a:noFill/>
          <a:ln w="9525" algn="ctr">
            <a:solidFill>
              <a:schemeClr val="tx1"/>
            </a:solidFill>
          </a:ln>
          <a:extLst>
            <a:ext uri="{909E8E84-426E-40DD-AFC4-6F175D3DCCD1}">
              <a14:hiddenFill xmlns:a14="http://schemas.microsoft.com/office/drawing/2010/main">
                <a:solidFill>
                  <a:schemeClr val="accent4"/>
                </a:solidFill>
              </a14:hiddenFill>
            </a:ext>
          </a:extLst>
        </p:spPr>
        <p:txBody>
          <a:bodyPr vert="horz" wrap="none" lIns="0" tIns="23813" rIns="0" bIns="23813" numCol="1" spcCol="0" rtlCol="0" anchor="ctr" anchorCtr="0">
            <a:noAutofit/>
          </a:bodyPr>
          <a:lstStyle>
            <a:lvl1pPr marL="0" indent="0" algn="l" defTabSz="914400" rtl="0" eaLnBrk="1" latinLnBrk="0" hangingPunct="1">
              <a:spcBef>
                <a:spcPts val="0"/>
              </a:spcBef>
              <a:spcAft>
                <a:spcPts val="0"/>
              </a:spcAft>
              <a:buFont typeface="Arial" pitchFamily="34" charset="0"/>
              <a:buNone/>
              <a:defRPr sz="1600" kern="1200">
                <a:solidFill>
                  <a:schemeClr val="tx1"/>
                </a:solidFill>
                <a:latin typeface="+mn-lt"/>
                <a:ea typeface="+mn-ea"/>
                <a:cs typeface="+mn-cs"/>
              </a:defRPr>
            </a:lvl1pPr>
            <a:lvl2pPr marL="144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2pPr>
            <a:lvl3pPr marL="288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3pPr>
            <a:lvl4pPr marL="432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4pPr>
            <a:lvl5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5pPr>
            <a:lvl6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6pPr>
            <a:lvl7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7pPr>
            <a:lvl8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8pPr>
            <a:lvl9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9pPr>
          </a:lstStyle>
          <a:p>
            <a:pPr lvl="0" algn="ctr">
              <a:spcBef>
                <a:spcPct val="0"/>
              </a:spcBef>
              <a:spcAft>
                <a:spcPct val="0"/>
              </a:spcAft>
              <a:defRPr/>
            </a:pPr>
            <a:fld id="{E43F780F-91E6-4BF5-B31C-5ADB7D7C0CB0}" type="datetime'''''05'''''''''''''''''''''''''''''''''''''''">
              <a:rPr lang="de-DE" altLang="en-US" sz="800" smtClean="0">
                <a:solidFill>
                  <a:srgbClr val="000000"/>
                </a:solidFill>
              </a:rPr>
              <a:pPr/>
              <a:t>05</a:t>
            </a:fld>
            <a:endParaRPr kumimoji="0" lang="en-US" sz="800" i="0" strike="noStrike" kern="1200" spc="0" normalizeH="0" noProof="0" dirty="0">
              <a:ln>
                <a:noFill/>
              </a:ln>
              <a:solidFill>
                <a:srgbClr val="000000"/>
              </a:solidFill>
              <a:effectLst/>
              <a:uLnTx/>
              <a:uFillTx/>
              <a:sym typeface="+mn-lt"/>
            </a:endParaRPr>
          </a:p>
        </p:txBody>
      </p:sp>
      <p:sp>
        <p:nvSpPr>
          <p:cNvPr id="117" name="Textplatzhalter 2">
            <a:extLst>
              <a:ext uri="{FF2B5EF4-FFF2-40B4-BE49-F238E27FC236}">
                <a16:creationId xmlns:a16="http://schemas.microsoft.com/office/drawing/2014/main" id="{BEE43D04-C78B-4935-8ABB-84E8C1FA3EC8}"/>
              </a:ext>
            </a:extLst>
          </p:cNvPr>
          <p:cNvSpPr>
            <a:spLocks noGrp="1"/>
          </p:cNvSpPr>
          <p:nvPr>
            <p:custDataLst>
              <p:tags r:id="rId19"/>
            </p:custDataLst>
          </p:nvPr>
        </p:nvSpPr>
        <p:spPr bwMode="gray">
          <a:xfrm>
            <a:off x="2933700" y="1458913"/>
            <a:ext cx="1114425" cy="169863"/>
          </a:xfrm>
          <a:prstGeom prst="rect">
            <a:avLst/>
          </a:prstGeom>
          <a:noFill/>
          <a:ln w="9525" algn="ctr">
            <a:solidFill>
              <a:schemeClr val="tx1"/>
            </a:solidFill>
          </a:ln>
          <a:extLst>
            <a:ext uri="{909E8E84-426E-40DD-AFC4-6F175D3DCCD1}">
              <a14:hiddenFill xmlns:a14="http://schemas.microsoft.com/office/drawing/2010/main">
                <a:solidFill>
                  <a:schemeClr val="accent4"/>
                </a:solidFill>
              </a14:hiddenFill>
            </a:ext>
          </a:extLst>
        </p:spPr>
        <p:txBody>
          <a:bodyPr vert="horz" wrap="none" lIns="0" tIns="23813" rIns="0" bIns="23813" numCol="1" spcCol="0" rtlCol="0" anchor="ctr" anchorCtr="0">
            <a:noAutofit/>
          </a:bodyPr>
          <a:lstStyle>
            <a:lvl1pPr marL="0" indent="0" algn="l" defTabSz="914400" rtl="0" eaLnBrk="1" latinLnBrk="0" hangingPunct="1">
              <a:spcBef>
                <a:spcPts val="0"/>
              </a:spcBef>
              <a:spcAft>
                <a:spcPts val="0"/>
              </a:spcAft>
              <a:buFont typeface="Arial" pitchFamily="34" charset="0"/>
              <a:buNone/>
              <a:defRPr sz="1600" kern="1200">
                <a:solidFill>
                  <a:schemeClr val="tx1"/>
                </a:solidFill>
                <a:latin typeface="+mn-lt"/>
                <a:ea typeface="+mn-ea"/>
                <a:cs typeface="+mn-cs"/>
              </a:defRPr>
            </a:lvl1pPr>
            <a:lvl2pPr marL="144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2pPr>
            <a:lvl3pPr marL="288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3pPr>
            <a:lvl4pPr marL="432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4pPr>
            <a:lvl5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5pPr>
            <a:lvl6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6pPr>
            <a:lvl7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7pPr>
            <a:lvl8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8pPr>
            <a:lvl9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9pPr>
          </a:lstStyle>
          <a:p>
            <a:pPr lvl="0" algn="ctr">
              <a:spcBef>
                <a:spcPct val="0"/>
              </a:spcBef>
              <a:spcAft>
                <a:spcPct val="0"/>
              </a:spcAft>
              <a:defRPr/>
            </a:pPr>
            <a:fld id="{8DC60F3D-E8B9-4E2D-BFF1-25A615939279}" type="datetime'''''''''''''''''''''0''''''''''''''''6'''''''''''''''">
              <a:rPr lang="de-DE" altLang="en-US" sz="800" smtClean="0">
                <a:solidFill>
                  <a:srgbClr val="000000"/>
                </a:solidFill>
              </a:rPr>
              <a:pPr/>
              <a:t>06</a:t>
            </a:fld>
            <a:endParaRPr kumimoji="0" lang="en-US" sz="800" i="0" strike="noStrike" kern="1200" spc="0" normalizeH="0" noProof="0" dirty="0">
              <a:ln>
                <a:noFill/>
              </a:ln>
              <a:solidFill>
                <a:srgbClr val="000000"/>
              </a:solidFill>
              <a:effectLst/>
              <a:uLnTx/>
              <a:uFillTx/>
              <a:sym typeface="+mn-lt"/>
            </a:endParaRPr>
          </a:p>
        </p:txBody>
      </p:sp>
      <p:sp>
        <p:nvSpPr>
          <p:cNvPr id="118" name="Textplatzhalter 2">
            <a:extLst>
              <a:ext uri="{FF2B5EF4-FFF2-40B4-BE49-F238E27FC236}">
                <a16:creationId xmlns:a16="http://schemas.microsoft.com/office/drawing/2014/main" id="{5FE93B0B-CD0D-4997-AA3A-9E1DC12DD2B9}"/>
              </a:ext>
            </a:extLst>
          </p:cNvPr>
          <p:cNvSpPr>
            <a:spLocks noGrp="1"/>
          </p:cNvSpPr>
          <p:nvPr>
            <p:custDataLst>
              <p:tags r:id="rId20"/>
            </p:custDataLst>
          </p:nvPr>
        </p:nvSpPr>
        <p:spPr bwMode="gray">
          <a:xfrm>
            <a:off x="4048125" y="1458913"/>
            <a:ext cx="1114425" cy="169863"/>
          </a:xfrm>
          <a:prstGeom prst="rect">
            <a:avLst/>
          </a:prstGeom>
          <a:noFill/>
          <a:ln w="9525" algn="ctr">
            <a:solidFill>
              <a:schemeClr val="tx1"/>
            </a:solidFill>
          </a:ln>
          <a:extLst>
            <a:ext uri="{909E8E84-426E-40DD-AFC4-6F175D3DCCD1}">
              <a14:hiddenFill xmlns:a14="http://schemas.microsoft.com/office/drawing/2010/main">
                <a:solidFill>
                  <a:schemeClr val="accent4"/>
                </a:solidFill>
              </a14:hiddenFill>
            </a:ext>
          </a:extLst>
        </p:spPr>
        <p:txBody>
          <a:bodyPr vert="horz" wrap="none" lIns="0" tIns="23813" rIns="0" bIns="23813" numCol="1" spcCol="0" rtlCol="0" anchor="ctr" anchorCtr="0">
            <a:noAutofit/>
          </a:bodyPr>
          <a:lstStyle>
            <a:lvl1pPr marL="0" indent="0" algn="l" defTabSz="914400" rtl="0" eaLnBrk="1" latinLnBrk="0" hangingPunct="1">
              <a:spcBef>
                <a:spcPts val="0"/>
              </a:spcBef>
              <a:spcAft>
                <a:spcPts val="0"/>
              </a:spcAft>
              <a:buFont typeface="Arial" pitchFamily="34" charset="0"/>
              <a:buNone/>
              <a:defRPr sz="1600" kern="1200">
                <a:solidFill>
                  <a:schemeClr val="tx1"/>
                </a:solidFill>
                <a:latin typeface="+mn-lt"/>
                <a:ea typeface="+mn-ea"/>
                <a:cs typeface="+mn-cs"/>
              </a:defRPr>
            </a:lvl1pPr>
            <a:lvl2pPr marL="144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2pPr>
            <a:lvl3pPr marL="288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3pPr>
            <a:lvl4pPr marL="432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4pPr>
            <a:lvl5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5pPr>
            <a:lvl6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6pPr>
            <a:lvl7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7pPr>
            <a:lvl8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8pPr>
            <a:lvl9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9pPr>
          </a:lstStyle>
          <a:p>
            <a:pPr lvl="0" algn="ctr">
              <a:spcBef>
                <a:spcPct val="0"/>
              </a:spcBef>
              <a:spcAft>
                <a:spcPct val="0"/>
              </a:spcAft>
              <a:defRPr/>
            </a:pPr>
            <a:fld id="{2B6B5591-21B4-4715-9813-B0528E3F1ED6}" type="datetime'0''''''''''''''''''''''''''''''''7'''''''''''">
              <a:rPr lang="de-DE" altLang="en-US" sz="800" smtClean="0">
                <a:solidFill>
                  <a:srgbClr val="000000"/>
                </a:solidFill>
              </a:rPr>
              <a:pPr/>
              <a:t>07</a:t>
            </a:fld>
            <a:endParaRPr kumimoji="0" lang="en-US" sz="800" i="0" strike="noStrike" kern="1200" spc="0" normalizeH="0" noProof="0" dirty="0">
              <a:ln>
                <a:noFill/>
              </a:ln>
              <a:solidFill>
                <a:srgbClr val="000000"/>
              </a:solidFill>
              <a:effectLst/>
              <a:uLnTx/>
              <a:uFillTx/>
              <a:sym typeface="+mn-lt"/>
            </a:endParaRPr>
          </a:p>
        </p:txBody>
      </p:sp>
      <p:sp>
        <p:nvSpPr>
          <p:cNvPr id="119" name="Textplatzhalter 2">
            <a:extLst>
              <a:ext uri="{FF2B5EF4-FFF2-40B4-BE49-F238E27FC236}">
                <a16:creationId xmlns:a16="http://schemas.microsoft.com/office/drawing/2014/main" id="{4F75B5EF-BA73-4F10-A025-4C7F30F196DE}"/>
              </a:ext>
            </a:extLst>
          </p:cNvPr>
          <p:cNvSpPr>
            <a:spLocks noGrp="1"/>
          </p:cNvSpPr>
          <p:nvPr>
            <p:custDataLst>
              <p:tags r:id="rId21"/>
            </p:custDataLst>
          </p:nvPr>
        </p:nvSpPr>
        <p:spPr bwMode="gray">
          <a:xfrm>
            <a:off x="5162550" y="1458913"/>
            <a:ext cx="1114425" cy="169863"/>
          </a:xfrm>
          <a:prstGeom prst="rect">
            <a:avLst/>
          </a:prstGeom>
          <a:noFill/>
          <a:ln w="9525" algn="ctr">
            <a:solidFill>
              <a:schemeClr val="tx1"/>
            </a:solidFill>
          </a:ln>
          <a:extLst>
            <a:ext uri="{909E8E84-426E-40DD-AFC4-6F175D3DCCD1}">
              <a14:hiddenFill xmlns:a14="http://schemas.microsoft.com/office/drawing/2010/main">
                <a:solidFill>
                  <a:schemeClr val="accent4"/>
                </a:solidFill>
              </a14:hiddenFill>
            </a:ext>
          </a:extLst>
        </p:spPr>
        <p:txBody>
          <a:bodyPr vert="horz" wrap="none" lIns="0" tIns="23813" rIns="0" bIns="23813" numCol="1" spcCol="0" rtlCol="0" anchor="ctr" anchorCtr="0">
            <a:noAutofit/>
          </a:bodyPr>
          <a:lstStyle>
            <a:lvl1pPr marL="0" indent="0" algn="l" defTabSz="914400" rtl="0" eaLnBrk="1" latinLnBrk="0" hangingPunct="1">
              <a:spcBef>
                <a:spcPts val="0"/>
              </a:spcBef>
              <a:spcAft>
                <a:spcPts val="0"/>
              </a:spcAft>
              <a:buFont typeface="Arial" pitchFamily="34" charset="0"/>
              <a:buNone/>
              <a:defRPr sz="1600" kern="1200">
                <a:solidFill>
                  <a:schemeClr val="tx1"/>
                </a:solidFill>
                <a:latin typeface="+mn-lt"/>
                <a:ea typeface="+mn-ea"/>
                <a:cs typeface="+mn-cs"/>
              </a:defRPr>
            </a:lvl1pPr>
            <a:lvl2pPr marL="144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2pPr>
            <a:lvl3pPr marL="288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3pPr>
            <a:lvl4pPr marL="432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4pPr>
            <a:lvl5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5pPr>
            <a:lvl6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6pPr>
            <a:lvl7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7pPr>
            <a:lvl8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8pPr>
            <a:lvl9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9pPr>
          </a:lstStyle>
          <a:p>
            <a:pPr lvl="0" algn="ctr">
              <a:spcBef>
                <a:spcPct val="0"/>
              </a:spcBef>
              <a:spcAft>
                <a:spcPct val="0"/>
              </a:spcAft>
              <a:defRPr/>
            </a:pPr>
            <a:fld id="{442D80F3-E429-46B8-8CE7-9F0CD7838B49}" type="datetime'''''''''''''''''08'''''''''''''''''">
              <a:rPr lang="de-DE" altLang="en-US" sz="800" smtClean="0">
                <a:solidFill>
                  <a:srgbClr val="000000"/>
                </a:solidFill>
              </a:rPr>
              <a:pPr/>
              <a:t>08</a:t>
            </a:fld>
            <a:endParaRPr kumimoji="0" lang="en-US" sz="800" i="0" strike="noStrike" kern="1200" spc="0" normalizeH="0" noProof="0" dirty="0">
              <a:ln>
                <a:noFill/>
              </a:ln>
              <a:solidFill>
                <a:srgbClr val="000000"/>
              </a:solidFill>
              <a:effectLst/>
              <a:uLnTx/>
              <a:uFillTx/>
              <a:sym typeface="+mn-lt"/>
            </a:endParaRPr>
          </a:p>
        </p:txBody>
      </p:sp>
      <p:sp>
        <p:nvSpPr>
          <p:cNvPr id="120" name="Textplatzhalter 2">
            <a:extLst>
              <a:ext uri="{FF2B5EF4-FFF2-40B4-BE49-F238E27FC236}">
                <a16:creationId xmlns:a16="http://schemas.microsoft.com/office/drawing/2014/main" id="{468F3AF8-D79C-4B16-B341-D96480DF1503}"/>
              </a:ext>
            </a:extLst>
          </p:cNvPr>
          <p:cNvSpPr>
            <a:spLocks noGrp="1"/>
          </p:cNvSpPr>
          <p:nvPr>
            <p:custDataLst>
              <p:tags r:id="rId22"/>
            </p:custDataLst>
          </p:nvPr>
        </p:nvSpPr>
        <p:spPr bwMode="gray">
          <a:xfrm>
            <a:off x="6276975" y="1458913"/>
            <a:ext cx="1114425" cy="169863"/>
          </a:xfrm>
          <a:prstGeom prst="rect">
            <a:avLst/>
          </a:prstGeom>
          <a:noFill/>
          <a:ln w="9525" algn="ctr">
            <a:solidFill>
              <a:schemeClr val="tx1"/>
            </a:solidFill>
          </a:ln>
          <a:extLst>
            <a:ext uri="{909E8E84-426E-40DD-AFC4-6F175D3DCCD1}">
              <a14:hiddenFill xmlns:a14="http://schemas.microsoft.com/office/drawing/2010/main">
                <a:solidFill>
                  <a:schemeClr val="accent4"/>
                </a:solidFill>
              </a14:hiddenFill>
            </a:ext>
          </a:extLst>
        </p:spPr>
        <p:txBody>
          <a:bodyPr vert="horz" wrap="none" lIns="0" tIns="23813" rIns="0" bIns="23813" numCol="1" spcCol="0" rtlCol="0" anchor="ctr" anchorCtr="0">
            <a:noAutofit/>
          </a:bodyPr>
          <a:lstStyle>
            <a:lvl1pPr marL="0" indent="0" algn="l" defTabSz="914400" rtl="0" eaLnBrk="1" latinLnBrk="0" hangingPunct="1">
              <a:spcBef>
                <a:spcPts val="0"/>
              </a:spcBef>
              <a:spcAft>
                <a:spcPts val="0"/>
              </a:spcAft>
              <a:buFont typeface="Arial" pitchFamily="34" charset="0"/>
              <a:buNone/>
              <a:defRPr sz="1600" kern="1200">
                <a:solidFill>
                  <a:schemeClr val="tx1"/>
                </a:solidFill>
                <a:latin typeface="+mn-lt"/>
                <a:ea typeface="+mn-ea"/>
                <a:cs typeface="+mn-cs"/>
              </a:defRPr>
            </a:lvl1pPr>
            <a:lvl2pPr marL="144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2pPr>
            <a:lvl3pPr marL="288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3pPr>
            <a:lvl4pPr marL="432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4pPr>
            <a:lvl5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5pPr>
            <a:lvl6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6pPr>
            <a:lvl7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7pPr>
            <a:lvl8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8pPr>
            <a:lvl9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9pPr>
          </a:lstStyle>
          <a:p>
            <a:pPr lvl="0" algn="ctr">
              <a:spcBef>
                <a:spcPct val="0"/>
              </a:spcBef>
              <a:spcAft>
                <a:spcPct val="0"/>
              </a:spcAft>
              <a:defRPr/>
            </a:pPr>
            <a:fld id="{413D72C4-18F0-485B-B034-2B28B05B546A}" type="datetime'''''''''''0''9'''''''''''''''''''''''''''">
              <a:rPr lang="de-DE" altLang="en-US" sz="800" smtClean="0">
                <a:solidFill>
                  <a:srgbClr val="000000"/>
                </a:solidFill>
              </a:rPr>
              <a:pPr/>
              <a:t>09</a:t>
            </a:fld>
            <a:endParaRPr kumimoji="0" lang="en-US" sz="800" i="0" strike="noStrike" kern="1200" spc="0" normalizeH="0" noProof="0" dirty="0">
              <a:ln>
                <a:noFill/>
              </a:ln>
              <a:solidFill>
                <a:srgbClr val="000000"/>
              </a:solidFill>
              <a:effectLst/>
              <a:uLnTx/>
              <a:uFillTx/>
              <a:sym typeface="+mn-lt"/>
            </a:endParaRPr>
          </a:p>
        </p:txBody>
      </p:sp>
      <p:sp>
        <p:nvSpPr>
          <p:cNvPr id="121" name="Textplatzhalter 2">
            <a:extLst>
              <a:ext uri="{FF2B5EF4-FFF2-40B4-BE49-F238E27FC236}">
                <a16:creationId xmlns:a16="http://schemas.microsoft.com/office/drawing/2014/main" id="{00C791DB-72ED-4D0E-9260-A2F5BCDF05B4}"/>
              </a:ext>
            </a:extLst>
          </p:cNvPr>
          <p:cNvSpPr>
            <a:spLocks noGrp="1"/>
          </p:cNvSpPr>
          <p:nvPr>
            <p:custDataLst>
              <p:tags r:id="rId23"/>
            </p:custDataLst>
          </p:nvPr>
        </p:nvSpPr>
        <p:spPr bwMode="gray">
          <a:xfrm>
            <a:off x="7391400" y="1458913"/>
            <a:ext cx="1063625" cy="169863"/>
          </a:xfrm>
          <a:prstGeom prst="rect">
            <a:avLst/>
          </a:prstGeom>
          <a:noFill/>
          <a:ln w="9525" algn="ctr">
            <a:solidFill>
              <a:schemeClr val="tx1"/>
            </a:solidFill>
          </a:ln>
          <a:extLst>
            <a:ext uri="{909E8E84-426E-40DD-AFC4-6F175D3DCCD1}">
              <a14:hiddenFill xmlns:a14="http://schemas.microsoft.com/office/drawing/2010/main">
                <a:solidFill>
                  <a:schemeClr val="accent4"/>
                </a:solidFill>
              </a14:hiddenFill>
            </a:ext>
          </a:extLst>
        </p:spPr>
        <p:txBody>
          <a:bodyPr vert="horz" wrap="none" lIns="0" tIns="23813" rIns="0" bIns="23813" numCol="1" spcCol="0" rtlCol="0" anchor="ctr" anchorCtr="0">
            <a:noAutofit/>
          </a:bodyPr>
          <a:lstStyle>
            <a:lvl1pPr marL="0" indent="0" algn="l" defTabSz="914400" rtl="0" eaLnBrk="1" latinLnBrk="0" hangingPunct="1">
              <a:spcBef>
                <a:spcPts val="0"/>
              </a:spcBef>
              <a:spcAft>
                <a:spcPts val="0"/>
              </a:spcAft>
              <a:buFont typeface="Arial" pitchFamily="34" charset="0"/>
              <a:buNone/>
              <a:defRPr sz="1600" kern="1200">
                <a:solidFill>
                  <a:schemeClr val="tx1"/>
                </a:solidFill>
                <a:latin typeface="+mn-lt"/>
                <a:ea typeface="+mn-ea"/>
                <a:cs typeface="+mn-cs"/>
              </a:defRPr>
            </a:lvl1pPr>
            <a:lvl2pPr marL="144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2pPr>
            <a:lvl3pPr marL="288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3pPr>
            <a:lvl4pPr marL="432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4pPr>
            <a:lvl5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5pPr>
            <a:lvl6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6pPr>
            <a:lvl7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7pPr>
            <a:lvl8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8pPr>
            <a:lvl9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9pPr>
          </a:lstStyle>
          <a:p>
            <a:pPr lvl="0" algn="ctr">
              <a:spcBef>
                <a:spcPct val="0"/>
              </a:spcBef>
              <a:spcAft>
                <a:spcPct val="0"/>
              </a:spcAft>
              <a:defRPr/>
            </a:pPr>
            <a:fld id="{EDE36734-AE2A-4A24-A8A6-3EAC0C9D47D5}" type="datetime'''''''''''''''''''''''''''''''''''''''''1''''''''0'''''''">
              <a:rPr lang="de-DE" altLang="en-US" sz="800" smtClean="0">
                <a:solidFill>
                  <a:srgbClr val="000000"/>
                </a:solidFill>
              </a:rPr>
              <a:pPr/>
              <a:t>10</a:t>
            </a:fld>
            <a:endParaRPr kumimoji="0" lang="en-US" sz="800" i="0" strike="noStrike" kern="1200" spc="0" normalizeH="0" noProof="0" dirty="0">
              <a:ln>
                <a:noFill/>
              </a:ln>
              <a:solidFill>
                <a:srgbClr val="000000"/>
              </a:solidFill>
              <a:effectLst/>
              <a:uLnTx/>
              <a:uFillTx/>
              <a:sym typeface="+mn-lt"/>
            </a:endParaRPr>
          </a:p>
        </p:txBody>
      </p:sp>
      <p:sp>
        <p:nvSpPr>
          <p:cNvPr id="122" name="Textplatzhalter 2">
            <a:extLst>
              <a:ext uri="{FF2B5EF4-FFF2-40B4-BE49-F238E27FC236}">
                <a16:creationId xmlns:a16="http://schemas.microsoft.com/office/drawing/2014/main" id="{1C8A6D54-AA33-45C4-ADA9-9502C3685B70}"/>
              </a:ext>
            </a:extLst>
          </p:cNvPr>
          <p:cNvSpPr>
            <a:spLocks noGrp="1"/>
          </p:cNvSpPr>
          <p:nvPr>
            <p:custDataLst>
              <p:tags r:id="rId24"/>
            </p:custDataLst>
          </p:nvPr>
        </p:nvSpPr>
        <p:spPr bwMode="gray">
          <a:xfrm>
            <a:off x="8455025" y="1458913"/>
            <a:ext cx="1114425" cy="169863"/>
          </a:xfrm>
          <a:prstGeom prst="rect">
            <a:avLst/>
          </a:prstGeom>
          <a:noFill/>
          <a:ln w="9525" algn="ctr">
            <a:solidFill>
              <a:schemeClr val="tx1"/>
            </a:solidFill>
          </a:ln>
          <a:extLst>
            <a:ext uri="{909E8E84-426E-40DD-AFC4-6F175D3DCCD1}">
              <a14:hiddenFill xmlns:a14="http://schemas.microsoft.com/office/drawing/2010/main">
                <a:solidFill>
                  <a:schemeClr val="accent4"/>
                </a:solidFill>
              </a14:hiddenFill>
            </a:ext>
          </a:extLst>
        </p:spPr>
        <p:txBody>
          <a:bodyPr vert="horz" wrap="none" lIns="0" tIns="23813" rIns="0" bIns="23813" numCol="1" spcCol="0" rtlCol="0" anchor="ctr" anchorCtr="0">
            <a:noAutofit/>
          </a:bodyPr>
          <a:lstStyle>
            <a:lvl1pPr marL="0" indent="0" algn="l" defTabSz="914400" rtl="0" eaLnBrk="1" latinLnBrk="0" hangingPunct="1">
              <a:spcBef>
                <a:spcPts val="0"/>
              </a:spcBef>
              <a:spcAft>
                <a:spcPts val="0"/>
              </a:spcAft>
              <a:buFont typeface="Arial" pitchFamily="34" charset="0"/>
              <a:buNone/>
              <a:defRPr sz="1600" kern="1200">
                <a:solidFill>
                  <a:schemeClr val="tx1"/>
                </a:solidFill>
                <a:latin typeface="+mn-lt"/>
                <a:ea typeface="+mn-ea"/>
                <a:cs typeface="+mn-cs"/>
              </a:defRPr>
            </a:lvl1pPr>
            <a:lvl2pPr marL="144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2pPr>
            <a:lvl3pPr marL="288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3pPr>
            <a:lvl4pPr marL="432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4pPr>
            <a:lvl5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5pPr>
            <a:lvl6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6pPr>
            <a:lvl7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7pPr>
            <a:lvl8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8pPr>
            <a:lvl9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9pPr>
          </a:lstStyle>
          <a:p>
            <a:pPr lvl="0" algn="ctr">
              <a:spcBef>
                <a:spcPct val="0"/>
              </a:spcBef>
              <a:spcAft>
                <a:spcPct val="0"/>
              </a:spcAft>
              <a:defRPr/>
            </a:pPr>
            <a:fld id="{AB9A74A3-927E-434C-BDAB-632766EF2954}" type="datetime'''''''1''''''''''''''''1'''''''''">
              <a:rPr lang="de-DE" altLang="en-US" sz="800" smtClean="0">
                <a:solidFill>
                  <a:srgbClr val="000000"/>
                </a:solidFill>
              </a:rPr>
              <a:pPr/>
              <a:t>11</a:t>
            </a:fld>
            <a:endParaRPr kumimoji="0" lang="en-US" sz="800" i="0" strike="noStrike" kern="1200" spc="0" normalizeH="0" noProof="0" dirty="0">
              <a:ln>
                <a:noFill/>
              </a:ln>
              <a:solidFill>
                <a:srgbClr val="000000"/>
              </a:solidFill>
              <a:effectLst/>
              <a:uLnTx/>
              <a:uFillTx/>
              <a:sym typeface="+mn-lt"/>
            </a:endParaRPr>
          </a:p>
        </p:txBody>
      </p:sp>
      <p:sp>
        <p:nvSpPr>
          <p:cNvPr id="123" name="Textplatzhalter 2">
            <a:extLst>
              <a:ext uri="{FF2B5EF4-FFF2-40B4-BE49-F238E27FC236}">
                <a16:creationId xmlns:a16="http://schemas.microsoft.com/office/drawing/2014/main" id="{69802D2C-5F35-4326-A35C-EE33335CB2CF}"/>
              </a:ext>
            </a:extLst>
          </p:cNvPr>
          <p:cNvSpPr>
            <a:spLocks noGrp="1"/>
          </p:cNvSpPr>
          <p:nvPr>
            <p:custDataLst>
              <p:tags r:id="rId25"/>
            </p:custDataLst>
          </p:nvPr>
        </p:nvSpPr>
        <p:spPr bwMode="gray">
          <a:xfrm>
            <a:off x="9569450" y="1458913"/>
            <a:ext cx="1165225" cy="169863"/>
          </a:xfrm>
          <a:prstGeom prst="rect">
            <a:avLst/>
          </a:prstGeom>
          <a:noFill/>
          <a:ln w="9525" algn="ctr">
            <a:solidFill>
              <a:schemeClr val="tx1"/>
            </a:solidFill>
          </a:ln>
          <a:extLst>
            <a:ext uri="{909E8E84-426E-40DD-AFC4-6F175D3DCCD1}">
              <a14:hiddenFill xmlns:a14="http://schemas.microsoft.com/office/drawing/2010/main">
                <a:solidFill>
                  <a:schemeClr val="accent4"/>
                </a:solidFill>
              </a14:hiddenFill>
            </a:ext>
          </a:extLst>
        </p:spPr>
        <p:txBody>
          <a:bodyPr vert="horz" wrap="none" lIns="0" tIns="23813" rIns="0" bIns="23813" numCol="1" spcCol="0" rtlCol="0" anchor="ctr" anchorCtr="0">
            <a:noAutofit/>
          </a:bodyPr>
          <a:lstStyle>
            <a:lvl1pPr marL="0" indent="0" algn="l" defTabSz="914400" rtl="0" eaLnBrk="1" latinLnBrk="0" hangingPunct="1">
              <a:spcBef>
                <a:spcPts val="0"/>
              </a:spcBef>
              <a:spcAft>
                <a:spcPts val="0"/>
              </a:spcAft>
              <a:buFont typeface="Arial" pitchFamily="34" charset="0"/>
              <a:buNone/>
              <a:defRPr sz="1600" kern="1200">
                <a:solidFill>
                  <a:schemeClr val="tx1"/>
                </a:solidFill>
                <a:latin typeface="+mn-lt"/>
                <a:ea typeface="+mn-ea"/>
                <a:cs typeface="+mn-cs"/>
              </a:defRPr>
            </a:lvl1pPr>
            <a:lvl2pPr marL="144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2pPr>
            <a:lvl3pPr marL="288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3pPr>
            <a:lvl4pPr marL="432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4pPr>
            <a:lvl5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5pPr>
            <a:lvl6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6pPr>
            <a:lvl7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7pPr>
            <a:lvl8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8pPr>
            <a:lvl9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9pPr>
          </a:lstStyle>
          <a:p>
            <a:pPr lvl="0" algn="ctr">
              <a:spcBef>
                <a:spcPct val="0"/>
              </a:spcBef>
              <a:spcAft>
                <a:spcPct val="0"/>
              </a:spcAft>
              <a:defRPr/>
            </a:pPr>
            <a:fld id="{D5DFFDD9-586D-4761-B334-C28B85FC1CC4}" type="datetime'''''''''''''''''''''1''''2'''''''''''''''''''''''''''''''">
              <a:rPr lang="de-DE" altLang="en-US" sz="800" smtClean="0">
                <a:solidFill>
                  <a:srgbClr val="000000"/>
                </a:solidFill>
              </a:rPr>
              <a:pPr/>
              <a:t>12</a:t>
            </a:fld>
            <a:endParaRPr kumimoji="0" lang="en-US" sz="800" i="0" strike="noStrike" kern="1200" spc="0" normalizeH="0" noProof="0" dirty="0">
              <a:ln>
                <a:noFill/>
              </a:ln>
              <a:solidFill>
                <a:srgbClr val="000000"/>
              </a:solidFill>
              <a:effectLst/>
              <a:uLnTx/>
              <a:uFillTx/>
              <a:sym typeface="+mn-lt"/>
            </a:endParaRPr>
          </a:p>
        </p:txBody>
      </p:sp>
      <p:cxnSp>
        <p:nvCxnSpPr>
          <p:cNvPr id="43" name="Gerader Verbinder 42">
            <a:extLst>
              <a:ext uri="{FF2B5EF4-FFF2-40B4-BE49-F238E27FC236}">
                <a16:creationId xmlns:a16="http://schemas.microsoft.com/office/drawing/2014/main" id="{226B1C3D-B112-4A09-99F7-102129E6F7DF}"/>
              </a:ext>
            </a:extLst>
          </p:cNvPr>
          <p:cNvCxnSpPr/>
          <p:nvPr>
            <p:custDataLst>
              <p:tags r:id="rId26"/>
            </p:custDataLst>
          </p:nvPr>
        </p:nvCxnSpPr>
        <p:spPr bwMode="gray">
          <a:xfrm>
            <a:off x="334963" y="1628774"/>
            <a:ext cx="0" cy="4141788"/>
          </a:xfrm>
          <a:prstGeom prst="line">
            <a:avLst/>
          </a:prstGeom>
          <a:ln w="9525" cap="flat" cmpd="sng" algn="ctr">
            <a:solidFill>
              <a:schemeClr val="tx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7" name="Gerader Verbinder 46">
            <a:extLst>
              <a:ext uri="{FF2B5EF4-FFF2-40B4-BE49-F238E27FC236}">
                <a16:creationId xmlns:a16="http://schemas.microsoft.com/office/drawing/2014/main" id="{33232053-1484-42D8-9A46-57D3F7D1FE5B}"/>
              </a:ext>
            </a:extLst>
          </p:cNvPr>
          <p:cNvCxnSpPr/>
          <p:nvPr>
            <p:custDataLst>
              <p:tags r:id="rId27"/>
            </p:custDataLst>
          </p:nvPr>
        </p:nvCxnSpPr>
        <p:spPr bwMode="gray">
          <a:xfrm>
            <a:off x="10734675" y="1628774"/>
            <a:ext cx="0" cy="4141788"/>
          </a:xfrm>
          <a:prstGeom prst="line">
            <a:avLst/>
          </a:prstGeom>
          <a:ln w="9525" cap="flat" cmpd="sng" algn="ctr">
            <a:solidFill>
              <a:schemeClr val="tx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0" name="Gerader Verbinder 49">
            <a:extLst>
              <a:ext uri="{FF2B5EF4-FFF2-40B4-BE49-F238E27FC236}">
                <a16:creationId xmlns:a16="http://schemas.microsoft.com/office/drawing/2014/main" id="{8366E251-EE45-482D-8096-43A0FE442804}"/>
              </a:ext>
            </a:extLst>
          </p:cNvPr>
          <p:cNvCxnSpPr/>
          <p:nvPr>
            <p:custDataLst>
              <p:tags r:id="rId28"/>
            </p:custDataLst>
          </p:nvPr>
        </p:nvCxnSpPr>
        <p:spPr bwMode="gray">
          <a:xfrm>
            <a:off x="5162550" y="1628774"/>
            <a:ext cx="0" cy="4141788"/>
          </a:xfrm>
          <a:prstGeom prst="line">
            <a:avLst/>
          </a:prstGeom>
          <a:ln w="3175" cap="flat" cmpd="sng" algn="ctr">
            <a:solidFill>
              <a:schemeClr val="tx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2" name="Gerader Verbinder 41">
            <a:extLst>
              <a:ext uri="{FF2B5EF4-FFF2-40B4-BE49-F238E27FC236}">
                <a16:creationId xmlns:a16="http://schemas.microsoft.com/office/drawing/2014/main" id="{A09DDD58-D447-4FBC-BC61-B8F0292630B6}"/>
              </a:ext>
            </a:extLst>
          </p:cNvPr>
          <p:cNvCxnSpPr/>
          <p:nvPr>
            <p:custDataLst>
              <p:tags r:id="rId29"/>
            </p:custDataLst>
          </p:nvPr>
        </p:nvCxnSpPr>
        <p:spPr bwMode="auto">
          <a:xfrm>
            <a:off x="11855450" y="1628774"/>
            <a:ext cx="0" cy="4141788"/>
          </a:xfrm>
          <a:prstGeom prst="line">
            <a:avLst/>
          </a:prstGeom>
          <a:ln w="9525" cap="flat" cmpd="sng" algn="ctr">
            <a:solidFill>
              <a:schemeClr val="tx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1" name="Gerader Verbinder 40">
            <a:extLst>
              <a:ext uri="{FF2B5EF4-FFF2-40B4-BE49-F238E27FC236}">
                <a16:creationId xmlns:a16="http://schemas.microsoft.com/office/drawing/2014/main" id="{B5360900-3ED8-439F-B8B8-C200B3426458}"/>
              </a:ext>
            </a:extLst>
          </p:cNvPr>
          <p:cNvCxnSpPr/>
          <p:nvPr>
            <p:custDataLst>
              <p:tags r:id="rId30"/>
            </p:custDataLst>
          </p:nvPr>
        </p:nvCxnSpPr>
        <p:spPr bwMode="auto">
          <a:xfrm>
            <a:off x="4048125" y="1628774"/>
            <a:ext cx="0" cy="4141788"/>
          </a:xfrm>
          <a:prstGeom prst="line">
            <a:avLst/>
          </a:prstGeom>
          <a:ln w="3175" cap="flat" cmpd="sng" algn="ctr">
            <a:solidFill>
              <a:schemeClr val="tx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5" name="Gerader Verbinder 44">
            <a:extLst>
              <a:ext uri="{FF2B5EF4-FFF2-40B4-BE49-F238E27FC236}">
                <a16:creationId xmlns:a16="http://schemas.microsoft.com/office/drawing/2014/main" id="{DDEE323D-6A97-441C-B4B5-C719977D3CC3}"/>
              </a:ext>
            </a:extLst>
          </p:cNvPr>
          <p:cNvCxnSpPr/>
          <p:nvPr>
            <p:custDataLst>
              <p:tags r:id="rId31"/>
            </p:custDataLst>
          </p:nvPr>
        </p:nvCxnSpPr>
        <p:spPr bwMode="gray">
          <a:xfrm>
            <a:off x="1870075" y="1628774"/>
            <a:ext cx="0" cy="4141788"/>
          </a:xfrm>
          <a:prstGeom prst="line">
            <a:avLst/>
          </a:prstGeom>
          <a:ln w="9525" cap="flat" cmpd="sng" algn="ctr">
            <a:solidFill>
              <a:schemeClr val="tx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9" name="Gerader Verbinder 38">
            <a:extLst>
              <a:ext uri="{FF2B5EF4-FFF2-40B4-BE49-F238E27FC236}">
                <a16:creationId xmlns:a16="http://schemas.microsoft.com/office/drawing/2014/main" id="{A4AD7B95-4B96-4D40-A1BB-D3A16CC6B4F4}"/>
              </a:ext>
            </a:extLst>
          </p:cNvPr>
          <p:cNvCxnSpPr/>
          <p:nvPr>
            <p:custDataLst>
              <p:tags r:id="rId32"/>
            </p:custDataLst>
          </p:nvPr>
        </p:nvCxnSpPr>
        <p:spPr bwMode="gray">
          <a:xfrm>
            <a:off x="9569450" y="1628774"/>
            <a:ext cx="0" cy="4141788"/>
          </a:xfrm>
          <a:prstGeom prst="line">
            <a:avLst/>
          </a:prstGeom>
          <a:ln w="3175" cap="flat" cmpd="sng" algn="ctr">
            <a:solidFill>
              <a:schemeClr val="tx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2" name="Gerader Verbinder 51">
            <a:extLst>
              <a:ext uri="{FF2B5EF4-FFF2-40B4-BE49-F238E27FC236}">
                <a16:creationId xmlns:a16="http://schemas.microsoft.com/office/drawing/2014/main" id="{1DED67B2-E0E1-4558-AD65-5D0FD459C75E}"/>
              </a:ext>
            </a:extLst>
          </p:cNvPr>
          <p:cNvCxnSpPr/>
          <p:nvPr>
            <p:custDataLst>
              <p:tags r:id="rId33"/>
            </p:custDataLst>
          </p:nvPr>
        </p:nvCxnSpPr>
        <p:spPr bwMode="gray">
          <a:xfrm>
            <a:off x="8455025" y="1628774"/>
            <a:ext cx="0" cy="4141788"/>
          </a:xfrm>
          <a:prstGeom prst="line">
            <a:avLst/>
          </a:prstGeom>
          <a:ln w="3175" cap="flat" cmpd="sng" algn="ctr">
            <a:solidFill>
              <a:schemeClr val="tx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1" name="Gerader Verbinder 50">
            <a:extLst>
              <a:ext uri="{FF2B5EF4-FFF2-40B4-BE49-F238E27FC236}">
                <a16:creationId xmlns:a16="http://schemas.microsoft.com/office/drawing/2014/main" id="{AD65322B-9088-49BC-99E0-87BF06A1600A}"/>
              </a:ext>
            </a:extLst>
          </p:cNvPr>
          <p:cNvCxnSpPr/>
          <p:nvPr>
            <p:custDataLst>
              <p:tags r:id="rId34"/>
            </p:custDataLst>
          </p:nvPr>
        </p:nvCxnSpPr>
        <p:spPr bwMode="gray">
          <a:xfrm>
            <a:off x="6276975" y="1628774"/>
            <a:ext cx="0" cy="4141788"/>
          </a:xfrm>
          <a:prstGeom prst="line">
            <a:avLst/>
          </a:prstGeom>
          <a:ln w="3175" cap="flat" cmpd="sng" algn="ctr">
            <a:solidFill>
              <a:schemeClr val="tx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0" name="Gerader Verbinder 129">
            <a:extLst>
              <a:ext uri="{FF2B5EF4-FFF2-40B4-BE49-F238E27FC236}">
                <a16:creationId xmlns:a16="http://schemas.microsoft.com/office/drawing/2014/main" id="{5F615465-3FD0-448B-B9CE-B2D1A17B31AB}"/>
              </a:ext>
            </a:extLst>
          </p:cNvPr>
          <p:cNvCxnSpPr/>
          <p:nvPr>
            <p:custDataLst>
              <p:tags r:id="rId35"/>
            </p:custDataLst>
          </p:nvPr>
        </p:nvCxnSpPr>
        <p:spPr bwMode="auto">
          <a:xfrm>
            <a:off x="7391400" y="1628775"/>
            <a:ext cx="0" cy="4141788"/>
          </a:xfrm>
          <a:prstGeom prst="line">
            <a:avLst/>
          </a:prstGeom>
          <a:ln w="3175" cap="flat" cmpd="sng" algn="ctr">
            <a:solidFill>
              <a:schemeClr val="tx1"/>
            </a:solidFill>
            <a:prstDash val="solid"/>
            <a:miter lim="800000"/>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53" name="Gerader Verbinder 52">
            <a:extLst>
              <a:ext uri="{FF2B5EF4-FFF2-40B4-BE49-F238E27FC236}">
                <a16:creationId xmlns:a16="http://schemas.microsoft.com/office/drawing/2014/main" id="{B9664646-6951-4942-8F09-4EBC447B218D}"/>
              </a:ext>
            </a:extLst>
          </p:cNvPr>
          <p:cNvCxnSpPr/>
          <p:nvPr>
            <p:custDataLst>
              <p:tags r:id="rId36"/>
            </p:custDataLst>
          </p:nvPr>
        </p:nvCxnSpPr>
        <p:spPr bwMode="gray">
          <a:xfrm>
            <a:off x="334962" y="5770563"/>
            <a:ext cx="11520488" cy="0"/>
          </a:xfrm>
          <a:prstGeom prst="line">
            <a:avLst/>
          </a:prstGeom>
          <a:ln w="9525" cap="flat" cmpd="sng" algn="ctr">
            <a:solidFill>
              <a:schemeClr val="tx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5" name="Gerader Verbinder 54">
            <a:extLst>
              <a:ext uri="{FF2B5EF4-FFF2-40B4-BE49-F238E27FC236}">
                <a16:creationId xmlns:a16="http://schemas.microsoft.com/office/drawing/2014/main" id="{40EFF1B0-2B0C-4933-8B9F-71ECD9B86430}"/>
              </a:ext>
            </a:extLst>
          </p:cNvPr>
          <p:cNvCxnSpPr/>
          <p:nvPr>
            <p:custDataLst>
              <p:tags r:id="rId37"/>
            </p:custDataLst>
          </p:nvPr>
        </p:nvCxnSpPr>
        <p:spPr bwMode="gray">
          <a:xfrm>
            <a:off x="2933700" y="1628775"/>
            <a:ext cx="0" cy="4305300"/>
          </a:xfrm>
          <a:prstGeom prst="line">
            <a:avLst/>
          </a:prstGeom>
          <a:ln w="19050" cap="flat" cmpd="sng" algn="ctr">
            <a:solidFill>
              <a:schemeClr val="tx2"/>
            </a:solidFill>
            <a:prstDash val="lg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4" name="Gerader Verbinder 53">
            <a:extLst>
              <a:ext uri="{FF2B5EF4-FFF2-40B4-BE49-F238E27FC236}">
                <a16:creationId xmlns:a16="http://schemas.microsoft.com/office/drawing/2014/main" id="{12378AB0-BB84-4CD8-9577-FDED78747D24}"/>
              </a:ext>
            </a:extLst>
          </p:cNvPr>
          <p:cNvCxnSpPr/>
          <p:nvPr>
            <p:custDataLst>
              <p:tags r:id="rId38"/>
            </p:custDataLst>
          </p:nvPr>
        </p:nvCxnSpPr>
        <p:spPr bwMode="gray">
          <a:xfrm>
            <a:off x="10177463" y="1628775"/>
            <a:ext cx="0" cy="4305300"/>
          </a:xfrm>
          <a:prstGeom prst="line">
            <a:avLst/>
          </a:prstGeom>
          <a:ln w="19050" cap="flat" cmpd="sng" algn="ctr">
            <a:solidFill>
              <a:schemeClr val="tx2"/>
            </a:solidFill>
            <a:prstDash val="lg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6" name="Gerader Verbinder 55">
            <a:extLst>
              <a:ext uri="{FF2B5EF4-FFF2-40B4-BE49-F238E27FC236}">
                <a16:creationId xmlns:a16="http://schemas.microsoft.com/office/drawing/2014/main" id="{F0BE66DA-4B93-4514-AF7B-33B61074F667}"/>
              </a:ext>
            </a:extLst>
          </p:cNvPr>
          <p:cNvCxnSpPr/>
          <p:nvPr>
            <p:custDataLst>
              <p:tags r:id="rId39"/>
            </p:custDataLst>
          </p:nvPr>
        </p:nvCxnSpPr>
        <p:spPr bwMode="gray">
          <a:xfrm>
            <a:off x="334962" y="1628775"/>
            <a:ext cx="11520488" cy="0"/>
          </a:xfrm>
          <a:prstGeom prst="line">
            <a:avLst/>
          </a:prstGeom>
          <a:ln w="9525" cap="flat" cmpd="sng" algn="ctr">
            <a:solidFill>
              <a:schemeClr val="tx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57" name="Rechteck 56">
            <a:extLst>
              <a:ext uri="{FF2B5EF4-FFF2-40B4-BE49-F238E27FC236}">
                <a16:creationId xmlns:a16="http://schemas.microsoft.com/office/drawing/2014/main" id="{CD5495C3-6362-43C4-BC61-11762CCEA2D0}"/>
              </a:ext>
            </a:extLst>
          </p:cNvPr>
          <p:cNvSpPr/>
          <p:nvPr>
            <p:custDataLst>
              <p:tags r:id="rId40"/>
            </p:custDataLst>
          </p:nvPr>
        </p:nvSpPr>
        <p:spPr bwMode="gray">
          <a:xfrm>
            <a:off x="4048125" y="3360738"/>
            <a:ext cx="3546475" cy="79375"/>
          </a:xfrm>
          <a:prstGeom prst="rect">
            <a:avLst/>
          </a:prstGeom>
          <a:solidFill>
            <a:schemeClr val="tx2"/>
          </a:solidFill>
          <a:ln w="19050" cap="flat"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36000" rIns="91440" bIns="0" numCol="1" spcCol="0" rtlCol="0" fromWordArt="0" anchor="ctr" anchorCtr="0" forceAA="0" compatLnSpc="1">
            <a:prstTxWarp prst="textNoShape">
              <a:avLst/>
            </a:prstTxWarp>
            <a:noAutofit/>
          </a:bodyPr>
          <a:lstStyle/>
          <a:p>
            <a:pPr algn="ctr"/>
            <a:endParaRPr lang="de-DE" sz="1600" dirty="0">
              <a:solidFill>
                <a:schemeClr val="tx1"/>
              </a:solidFill>
            </a:endParaRPr>
          </a:p>
        </p:txBody>
      </p:sp>
      <p:sp>
        <p:nvSpPr>
          <p:cNvPr id="58" name="Rechteck 57">
            <a:extLst>
              <a:ext uri="{FF2B5EF4-FFF2-40B4-BE49-F238E27FC236}">
                <a16:creationId xmlns:a16="http://schemas.microsoft.com/office/drawing/2014/main" id="{9A5AB7AE-02CC-4061-9443-F8D815F4748B}"/>
              </a:ext>
            </a:extLst>
          </p:cNvPr>
          <p:cNvSpPr/>
          <p:nvPr>
            <p:custDataLst>
              <p:tags r:id="rId41"/>
            </p:custDataLst>
          </p:nvPr>
        </p:nvSpPr>
        <p:spPr bwMode="gray">
          <a:xfrm>
            <a:off x="6276975" y="4692650"/>
            <a:ext cx="3546475" cy="79375"/>
          </a:xfrm>
          <a:prstGeom prst="rect">
            <a:avLst/>
          </a:prstGeom>
          <a:solidFill>
            <a:schemeClr val="tx2"/>
          </a:solidFill>
          <a:ln w="19050" cap="flat"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36000" rIns="91440" bIns="0" numCol="1" spcCol="0" rtlCol="0" fromWordArt="0" anchor="ctr" anchorCtr="0" forceAA="0" compatLnSpc="1">
            <a:prstTxWarp prst="textNoShape">
              <a:avLst/>
            </a:prstTxWarp>
            <a:noAutofit/>
          </a:bodyPr>
          <a:lstStyle/>
          <a:p>
            <a:pPr algn="ctr"/>
            <a:endParaRPr lang="de-DE" sz="1600" dirty="0">
              <a:solidFill>
                <a:schemeClr val="tx1"/>
              </a:solidFill>
            </a:endParaRPr>
          </a:p>
        </p:txBody>
      </p:sp>
      <p:sp>
        <p:nvSpPr>
          <p:cNvPr id="59" name="Rechteck 58">
            <a:extLst>
              <a:ext uri="{FF2B5EF4-FFF2-40B4-BE49-F238E27FC236}">
                <a16:creationId xmlns:a16="http://schemas.microsoft.com/office/drawing/2014/main" id="{42E66FDB-D72F-45C5-97BD-032037E05195}"/>
              </a:ext>
            </a:extLst>
          </p:cNvPr>
          <p:cNvSpPr/>
          <p:nvPr>
            <p:custDataLst>
              <p:tags r:id="rId42"/>
            </p:custDataLst>
          </p:nvPr>
        </p:nvSpPr>
        <p:spPr bwMode="gray">
          <a:xfrm>
            <a:off x="5668963" y="2274888"/>
            <a:ext cx="5060950" cy="79375"/>
          </a:xfrm>
          <a:prstGeom prst="rect">
            <a:avLst/>
          </a:prstGeom>
          <a:solidFill>
            <a:schemeClr val="tx2"/>
          </a:solidFill>
          <a:ln w="19050" cap="flat"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36000" rIns="91440" bIns="0" numCol="1" spcCol="0" rtlCol="0" fromWordArt="0" anchor="ctr" anchorCtr="0" forceAA="0" compatLnSpc="1">
            <a:prstTxWarp prst="textNoShape">
              <a:avLst/>
            </a:prstTxWarp>
            <a:noAutofit/>
          </a:bodyPr>
          <a:lstStyle/>
          <a:p>
            <a:pPr algn="ctr"/>
            <a:endParaRPr lang="de-DE" sz="1600" dirty="0">
              <a:solidFill>
                <a:schemeClr val="tx1"/>
              </a:solidFill>
            </a:endParaRPr>
          </a:p>
        </p:txBody>
      </p:sp>
      <p:sp>
        <p:nvSpPr>
          <p:cNvPr id="60" name="Rechteck 59">
            <a:extLst>
              <a:ext uri="{FF2B5EF4-FFF2-40B4-BE49-F238E27FC236}">
                <a16:creationId xmlns:a16="http://schemas.microsoft.com/office/drawing/2014/main" id="{A82D05BB-4F38-4A03-81A8-A49217982C94}"/>
              </a:ext>
            </a:extLst>
          </p:cNvPr>
          <p:cNvSpPr/>
          <p:nvPr>
            <p:custDataLst>
              <p:tags r:id="rId43"/>
            </p:custDataLst>
          </p:nvPr>
        </p:nvSpPr>
        <p:spPr bwMode="gray">
          <a:xfrm>
            <a:off x="2933699" y="3113088"/>
            <a:ext cx="2228850" cy="79375"/>
          </a:xfrm>
          <a:prstGeom prst="rect">
            <a:avLst/>
          </a:prstGeom>
          <a:solidFill>
            <a:schemeClr val="tx2"/>
          </a:solidFill>
          <a:ln w="19050" cap="flat"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36000" rIns="91440" bIns="0" numCol="1" spcCol="0" rtlCol="0" fromWordArt="0" anchor="ctr" anchorCtr="0" forceAA="0" compatLnSpc="1">
            <a:prstTxWarp prst="textNoShape">
              <a:avLst/>
            </a:prstTxWarp>
            <a:noAutofit/>
          </a:bodyPr>
          <a:lstStyle/>
          <a:p>
            <a:pPr algn="ctr"/>
            <a:endParaRPr lang="de-DE" sz="1600" dirty="0">
              <a:solidFill>
                <a:schemeClr val="tx1"/>
              </a:solidFill>
            </a:endParaRPr>
          </a:p>
        </p:txBody>
      </p:sp>
      <p:sp>
        <p:nvSpPr>
          <p:cNvPr id="61" name="Rechteck 60">
            <a:extLst>
              <a:ext uri="{FF2B5EF4-FFF2-40B4-BE49-F238E27FC236}">
                <a16:creationId xmlns:a16="http://schemas.microsoft.com/office/drawing/2014/main" id="{6FADD1A6-6BEB-4904-A745-9B38AD7EE06E}"/>
              </a:ext>
            </a:extLst>
          </p:cNvPr>
          <p:cNvSpPr/>
          <p:nvPr>
            <p:custDataLst>
              <p:tags r:id="rId44"/>
            </p:custDataLst>
          </p:nvPr>
        </p:nvSpPr>
        <p:spPr bwMode="gray">
          <a:xfrm>
            <a:off x="2933699" y="4197350"/>
            <a:ext cx="2533650" cy="79375"/>
          </a:xfrm>
          <a:prstGeom prst="rect">
            <a:avLst/>
          </a:prstGeom>
          <a:solidFill>
            <a:schemeClr val="tx2"/>
          </a:solidFill>
          <a:ln w="19050" cap="flat"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36000" rIns="91440" bIns="0" numCol="1" spcCol="0" rtlCol="0" fromWordArt="0" anchor="ctr" anchorCtr="0" forceAA="0" compatLnSpc="1">
            <a:prstTxWarp prst="textNoShape">
              <a:avLst/>
            </a:prstTxWarp>
            <a:noAutofit/>
          </a:bodyPr>
          <a:lstStyle/>
          <a:p>
            <a:pPr algn="ctr"/>
            <a:endParaRPr lang="de-DE" sz="1600" dirty="0">
              <a:solidFill>
                <a:schemeClr val="tx1"/>
              </a:solidFill>
            </a:endParaRPr>
          </a:p>
        </p:txBody>
      </p:sp>
      <p:sp>
        <p:nvSpPr>
          <p:cNvPr id="62" name="Rechteck 61">
            <a:extLst>
              <a:ext uri="{FF2B5EF4-FFF2-40B4-BE49-F238E27FC236}">
                <a16:creationId xmlns:a16="http://schemas.microsoft.com/office/drawing/2014/main" id="{37A8B11E-5F1B-42A3-8507-162F43F39B36}"/>
              </a:ext>
            </a:extLst>
          </p:cNvPr>
          <p:cNvSpPr/>
          <p:nvPr>
            <p:custDataLst>
              <p:tags r:id="rId45"/>
            </p:custDataLst>
          </p:nvPr>
        </p:nvSpPr>
        <p:spPr bwMode="gray">
          <a:xfrm>
            <a:off x="2933700" y="2522538"/>
            <a:ext cx="1722438" cy="79375"/>
          </a:xfrm>
          <a:prstGeom prst="rect">
            <a:avLst/>
          </a:prstGeom>
          <a:solidFill>
            <a:schemeClr val="tx2"/>
          </a:solidFill>
          <a:ln w="19050" cap="flat"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36000" rIns="91440" bIns="0" numCol="1" spcCol="0" rtlCol="0" fromWordArt="0" anchor="ctr" anchorCtr="0" forceAA="0" compatLnSpc="1">
            <a:prstTxWarp prst="textNoShape">
              <a:avLst/>
            </a:prstTxWarp>
            <a:noAutofit/>
          </a:bodyPr>
          <a:lstStyle/>
          <a:p>
            <a:pPr algn="ctr"/>
            <a:endParaRPr lang="de-DE" sz="1600" dirty="0">
              <a:solidFill>
                <a:schemeClr val="tx1"/>
              </a:solidFill>
            </a:endParaRPr>
          </a:p>
        </p:txBody>
      </p:sp>
      <p:sp>
        <p:nvSpPr>
          <p:cNvPr id="63" name="Rechteck 62">
            <a:extLst>
              <a:ext uri="{FF2B5EF4-FFF2-40B4-BE49-F238E27FC236}">
                <a16:creationId xmlns:a16="http://schemas.microsoft.com/office/drawing/2014/main" id="{755A9FBA-4409-432B-AC0D-32F3B569917F}"/>
              </a:ext>
            </a:extLst>
          </p:cNvPr>
          <p:cNvSpPr/>
          <p:nvPr>
            <p:custDataLst>
              <p:tags r:id="rId46"/>
            </p:custDataLst>
          </p:nvPr>
        </p:nvSpPr>
        <p:spPr bwMode="gray">
          <a:xfrm>
            <a:off x="6276975" y="3608388"/>
            <a:ext cx="3546475" cy="79375"/>
          </a:xfrm>
          <a:prstGeom prst="rect">
            <a:avLst/>
          </a:prstGeom>
          <a:solidFill>
            <a:schemeClr val="tx2"/>
          </a:solidFill>
          <a:ln w="19050" cap="flat"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36000" rIns="91440" bIns="0" numCol="1" spcCol="0" rtlCol="0" fromWordArt="0" anchor="ctr" anchorCtr="0" forceAA="0" compatLnSpc="1">
            <a:prstTxWarp prst="textNoShape">
              <a:avLst/>
            </a:prstTxWarp>
            <a:noAutofit/>
          </a:bodyPr>
          <a:lstStyle/>
          <a:p>
            <a:pPr algn="ctr"/>
            <a:endParaRPr lang="de-DE" sz="1600" dirty="0">
              <a:solidFill>
                <a:schemeClr val="tx1"/>
              </a:solidFill>
            </a:endParaRPr>
          </a:p>
        </p:txBody>
      </p:sp>
      <p:sp>
        <p:nvSpPr>
          <p:cNvPr id="64" name="Rechteck 63">
            <a:extLst>
              <a:ext uri="{FF2B5EF4-FFF2-40B4-BE49-F238E27FC236}">
                <a16:creationId xmlns:a16="http://schemas.microsoft.com/office/drawing/2014/main" id="{8A6C92EA-0668-4EEE-977B-6C316C76892B}"/>
              </a:ext>
            </a:extLst>
          </p:cNvPr>
          <p:cNvSpPr/>
          <p:nvPr>
            <p:custDataLst>
              <p:tags r:id="rId47"/>
            </p:custDataLst>
          </p:nvPr>
        </p:nvSpPr>
        <p:spPr bwMode="gray">
          <a:xfrm>
            <a:off x="2933700" y="2027238"/>
            <a:ext cx="7294563" cy="79375"/>
          </a:xfrm>
          <a:prstGeom prst="rect">
            <a:avLst/>
          </a:prstGeom>
          <a:solidFill>
            <a:schemeClr val="tx2"/>
          </a:solidFill>
          <a:ln w="19050" cap="flat"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36000" rIns="91440" bIns="0" numCol="1" spcCol="0" rtlCol="0" fromWordArt="0" anchor="ctr" anchorCtr="0" forceAA="0" compatLnSpc="1">
            <a:prstTxWarp prst="textNoShape">
              <a:avLst/>
            </a:prstTxWarp>
            <a:noAutofit/>
          </a:bodyPr>
          <a:lstStyle/>
          <a:p>
            <a:pPr algn="ctr"/>
            <a:endParaRPr lang="de-DE" sz="1600" dirty="0">
              <a:solidFill>
                <a:schemeClr val="tx1"/>
              </a:solidFill>
            </a:endParaRPr>
          </a:p>
        </p:txBody>
      </p:sp>
      <p:sp>
        <p:nvSpPr>
          <p:cNvPr id="65" name="Rechteck 64">
            <a:extLst>
              <a:ext uri="{FF2B5EF4-FFF2-40B4-BE49-F238E27FC236}">
                <a16:creationId xmlns:a16="http://schemas.microsoft.com/office/drawing/2014/main" id="{8474416D-370D-4FB4-B9E9-789A8D901D9F}"/>
              </a:ext>
            </a:extLst>
          </p:cNvPr>
          <p:cNvSpPr/>
          <p:nvPr>
            <p:custDataLst>
              <p:tags r:id="rId48"/>
            </p:custDataLst>
          </p:nvPr>
        </p:nvSpPr>
        <p:spPr bwMode="gray">
          <a:xfrm>
            <a:off x="4048125" y="4445000"/>
            <a:ext cx="3798888" cy="79375"/>
          </a:xfrm>
          <a:prstGeom prst="rect">
            <a:avLst/>
          </a:prstGeom>
          <a:solidFill>
            <a:schemeClr val="tx2"/>
          </a:solidFill>
          <a:ln w="19050" cap="flat"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36000" rIns="91440" bIns="0" numCol="1" spcCol="0" rtlCol="0" fromWordArt="0" anchor="ctr" anchorCtr="0" forceAA="0" compatLnSpc="1">
            <a:prstTxWarp prst="textNoShape">
              <a:avLst/>
            </a:prstTxWarp>
            <a:noAutofit/>
          </a:bodyPr>
          <a:lstStyle/>
          <a:p>
            <a:pPr algn="ctr"/>
            <a:endParaRPr lang="de-DE" sz="1600" dirty="0">
              <a:solidFill>
                <a:schemeClr val="tx1"/>
              </a:solidFill>
            </a:endParaRPr>
          </a:p>
        </p:txBody>
      </p:sp>
      <p:sp>
        <p:nvSpPr>
          <p:cNvPr id="9" name="Gleichschenkliges Dreieck 8">
            <a:extLst>
              <a:ext uri="{FF2B5EF4-FFF2-40B4-BE49-F238E27FC236}">
                <a16:creationId xmlns:a16="http://schemas.microsoft.com/office/drawing/2014/main" id="{A961F357-407E-48D0-A64F-BACFBE029D87}"/>
              </a:ext>
            </a:extLst>
          </p:cNvPr>
          <p:cNvSpPr/>
          <p:nvPr>
            <p:custDataLst>
              <p:tags r:id="rId49"/>
            </p:custDataLst>
          </p:nvPr>
        </p:nvSpPr>
        <p:spPr bwMode="auto">
          <a:xfrm rot="10800000">
            <a:off x="5056188" y="5915025"/>
            <a:ext cx="212725" cy="107950"/>
          </a:xfrm>
          <a:prstGeom prst="triangle">
            <a:avLst>
              <a:gd name="adj" fmla="val 50000"/>
            </a:avLst>
          </a:prstGeom>
          <a:solidFill>
            <a:schemeClr val="tx1"/>
          </a:solid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8" name="Eckige Klammer rechts 7">
            <a:extLst>
              <a:ext uri="{FF2B5EF4-FFF2-40B4-BE49-F238E27FC236}">
                <a16:creationId xmlns:a16="http://schemas.microsoft.com/office/drawing/2014/main" id="{27DE109F-A7FA-400D-963D-4A28597731CC}"/>
              </a:ext>
            </a:extLst>
          </p:cNvPr>
          <p:cNvSpPr/>
          <p:nvPr>
            <p:custDataLst>
              <p:tags r:id="rId50"/>
            </p:custDataLst>
          </p:nvPr>
        </p:nvSpPr>
        <p:spPr bwMode="auto">
          <a:xfrm rot="5400000">
            <a:off x="5108575" y="5607050"/>
            <a:ext cx="107950" cy="506413"/>
          </a:xfrm>
          <a:prstGeom prst="rightBracket">
            <a:avLst>
              <a:gd name="adj" fmla="val 0"/>
            </a:avLst>
          </a:prstGeom>
          <a:noFill/>
          <a:ln w="9525" cap="flat" cmpd="sng" algn="ctr">
            <a:solidFill>
              <a:schemeClr val="tx1"/>
            </a:solidFill>
            <a:prstDash val="solid"/>
            <a:miter lim="800000"/>
            <a:headEnd type="none" w="med" len="med"/>
            <a:tailEnd type="none" w="med" len="med"/>
          </a:ln>
          <a:extLst>
            <a:ext uri="{909E8E84-426E-40DD-AFC4-6F175D3DCCD1}">
              <a14:hiddenFill xmlns:a14="http://schemas.microsoft.com/office/drawing/2010/main">
                <a:solidFill>
                  <a:scrgbClr r="0" g="0" b="0"/>
                </a:solidFill>
              </a14:hiddenFill>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dirty="0"/>
          </a:p>
        </p:txBody>
      </p:sp>
      <p:sp>
        <p:nvSpPr>
          <p:cNvPr id="135" name="Gleichschenkliges Dreieck 134">
            <a:extLst>
              <a:ext uri="{FF2B5EF4-FFF2-40B4-BE49-F238E27FC236}">
                <a16:creationId xmlns:a16="http://schemas.microsoft.com/office/drawing/2014/main" id="{35D370E1-A4D6-46F1-988D-F899F90859E3}"/>
              </a:ext>
            </a:extLst>
          </p:cNvPr>
          <p:cNvSpPr/>
          <p:nvPr>
            <p:custDataLst>
              <p:tags r:id="rId51"/>
            </p:custDataLst>
          </p:nvPr>
        </p:nvSpPr>
        <p:spPr bwMode="gray">
          <a:xfrm>
            <a:off x="10120313" y="5265738"/>
            <a:ext cx="114300" cy="114300"/>
          </a:xfrm>
          <a:prstGeom prst="triangle">
            <a:avLst/>
          </a:prstGeom>
          <a:solidFill>
            <a:schemeClr val="tx2"/>
          </a:solidFill>
          <a:ln w="9525" cap="flat" cmpd="sng" algn="ctr">
            <a:solidFill>
              <a:schemeClr val="tx2"/>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67" name="Gleichschenkliges Dreieck 66">
            <a:extLst>
              <a:ext uri="{FF2B5EF4-FFF2-40B4-BE49-F238E27FC236}">
                <a16:creationId xmlns:a16="http://schemas.microsoft.com/office/drawing/2014/main" id="{BF4DF717-0254-4077-A47B-9E631D4A5FE4}"/>
              </a:ext>
            </a:extLst>
          </p:cNvPr>
          <p:cNvSpPr/>
          <p:nvPr>
            <p:custDataLst>
              <p:tags r:id="rId52"/>
            </p:custDataLst>
          </p:nvPr>
        </p:nvSpPr>
        <p:spPr bwMode="gray">
          <a:xfrm>
            <a:off x="7789863" y="5265738"/>
            <a:ext cx="114300" cy="114300"/>
          </a:xfrm>
          <a:prstGeom prst="triangle">
            <a:avLst/>
          </a:prstGeom>
          <a:solidFill>
            <a:schemeClr val="tx2"/>
          </a:solidFill>
          <a:ln w="9525" cap="flat"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36000" rIns="91440" bIns="0" numCol="1" spcCol="0" rtlCol="0" fromWordArt="0" anchor="ctr" anchorCtr="0" forceAA="0" compatLnSpc="1">
            <a:prstTxWarp prst="textNoShape">
              <a:avLst/>
            </a:prstTxWarp>
            <a:noAutofit/>
          </a:bodyPr>
          <a:lstStyle/>
          <a:p>
            <a:pPr algn="ctr"/>
            <a:endParaRPr lang="de-DE" sz="1600" dirty="0">
              <a:solidFill>
                <a:schemeClr val="tx1"/>
              </a:solidFill>
            </a:endParaRPr>
          </a:p>
        </p:txBody>
      </p:sp>
      <p:sp>
        <p:nvSpPr>
          <p:cNvPr id="68" name="Gleichschenkliges Dreieck 67">
            <a:extLst>
              <a:ext uri="{FF2B5EF4-FFF2-40B4-BE49-F238E27FC236}">
                <a16:creationId xmlns:a16="http://schemas.microsoft.com/office/drawing/2014/main" id="{D12F6564-F3F3-4919-8672-8D2E21088534}"/>
              </a:ext>
            </a:extLst>
          </p:cNvPr>
          <p:cNvSpPr/>
          <p:nvPr>
            <p:custDataLst>
              <p:tags r:id="rId53"/>
            </p:custDataLst>
          </p:nvPr>
        </p:nvSpPr>
        <p:spPr bwMode="gray">
          <a:xfrm>
            <a:off x="5410200" y="5265738"/>
            <a:ext cx="114300" cy="114300"/>
          </a:xfrm>
          <a:prstGeom prst="triangle">
            <a:avLst/>
          </a:prstGeom>
          <a:solidFill>
            <a:schemeClr val="tx2"/>
          </a:solidFill>
          <a:ln w="9525" cap="flat"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36000" rIns="91440" bIns="0" numCol="1" spcCol="0" rtlCol="0" fromWordArt="0" anchor="ctr" anchorCtr="0" forceAA="0" compatLnSpc="1">
            <a:prstTxWarp prst="textNoShape">
              <a:avLst/>
            </a:prstTxWarp>
            <a:noAutofit/>
          </a:bodyPr>
          <a:lstStyle/>
          <a:p>
            <a:pPr algn="ctr"/>
            <a:endParaRPr lang="de-DE" sz="1600" dirty="0">
              <a:solidFill>
                <a:schemeClr val="tx1"/>
              </a:solidFill>
            </a:endParaRPr>
          </a:p>
        </p:txBody>
      </p:sp>
      <p:sp>
        <p:nvSpPr>
          <p:cNvPr id="139" name="Gleichschenkliges Dreieck 138">
            <a:extLst>
              <a:ext uri="{FF2B5EF4-FFF2-40B4-BE49-F238E27FC236}">
                <a16:creationId xmlns:a16="http://schemas.microsoft.com/office/drawing/2014/main" id="{957C3344-60B0-4B62-96E7-01781BEB3005}"/>
              </a:ext>
            </a:extLst>
          </p:cNvPr>
          <p:cNvSpPr/>
          <p:nvPr>
            <p:custDataLst>
              <p:tags r:id="rId54"/>
            </p:custDataLst>
          </p:nvPr>
        </p:nvSpPr>
        <p:spPr bwMode="gray">
          <a:xfrm>
            <a:off x="2876550" y="5265738"/>
            <a:ext cx="114300" cy="114300"/>
          </a:xfrm>
          <a:prstGeom prst="triangle">
            <a:avLst/>
          </a:prstGeom>
          <a:solidFill>
            <a:schemeClr val="tx2"/>
          </a:solidFill>
          <a:ln w="9525" cap="flat" cmpd="sng" algn="ctr">
            <a:solidFill>
              <a:schemeClr val="tx2"/>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69" name="Gleichschenkliges Dreieck 68">
            <a:extLst>
              <a:ext uri="{FF2B5EF4-FFF2-40B4-BE49-F238E27FC236}">
                <a16:creationId xmlns:a16="http://schemas.microsoft.com/office/drawing/2014/main" id="{8EB1366D-2C08-46A1-A3C1-B50C0ED335A8}"/>
              </a:ext>
            </a:extLst>
          </p:cNvPr>
          <p:cNvSpPr/>
          <p:nvPr>
            <p:custDataLst>
              <p:tags r:id="rId55"/>
            </p:custDataLst>
          </p:nvPr>
        </p:nvSpPr>
        <p:spPr bwMode="gray">
          <a:xfrm>
            <a:off x="10120313" y="5876925"/>
            <a:ext cx="114300" cy="114300"/>
          </a:xfrm>
          <a:prstGeom prst="triangle">
            <a:avLst/>
          </a:prstGeom>
          <a:solidFill>
            <a:schemeClr val="tx2"/>
          </a:solidFill>
          <a:ln w="9525" cap="flat"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1039033" rtl="0" eaLnBrk="1" fontAlgn="auto" latinLnBrk="0" hangingPunct="1">
              <a:lnSpc>
                <a:spcPct val="100000"/>
              </a:lnSpc>
              <a:spcBef>
                <a:spcPts val="0"/>
              </a:spcBef>
              <a:spcAft>
                <a:spcPts val="0"/>
              </a:spcAft>
              <a:buClrTx/>
              <a:buSzTx/>
              <a:buFontTx/>
              <a:buNone/>
              <a:tabLst/>
              <a:defRPr/>
            </a:pPr>
            <a:endParaRPr kumimoji="0" lang="de-DE" sz="16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70" name="Gleichschenkliges Dreieck 69">
            <a:extLst>
              <a:ext uri="{FF2B5EF4-FFF2-40B4-BE49-F238E27FC236}">
                <a16:creationId xmlns:a16="http://schemas.microsoft.com/office/drawing/2014/main" id="{BBBC7242-E72E-44B8-B10E-935AA549929C}"/>
              </a:ext>
            </a:extLst>
          </p:cNvPr>
          <p:cNvSpPr/>
          <p:nvPr>
            <p:custDataLst>
              <p:tags r:id="rId56"/>
            </p:custDataLst>
          </p:nvPr>
        </p:nvSpPr>
        <p:spPr bwMode="gray">
          <a:xfrm>
            <a:off x="2876550" y="5876925"/>
            <a:ext cx="114300" cy="114300"/>
          </a:xfrm>
          <a:prstGeom prst="triangle">
            <a:avLst/>
          </a:prstGeom>
          <a:solidFill>
            <a:schemeClr val="tx2"/>
          </a:solidFill>
          <a:ln w="9525" cap="flat"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1039033" rtl="0" eaLnBrk="1" fontAlgn="auto" latinLnBrk="0" hangingPunct="1">
              <a:lnSpc>
                <a:spcPct val="100000"/>
              </a:lnSpc>
              <a:spcBef>
                <a:spcPts val="0"/>
              </a:spcBef>
              <a:spcAft>
                <a:spcPts val="0"/>
              </a:spcAft>
              <a:buClrTx/>
              <a:buSzTx/>
              <a:buFontTx/>
              <a:buNone/>
              <a:tabLst/>
              <a:defRPr/>
            </a:pPr>
            <a:endParaRPr kumimoji="0" lang="de-DE" sz="16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142" name="Gleichschenkliges Dreieck 141">
            <a:extLst>
              <a:ext uri="{FF2B5EF4-FFF2-40B4-BE49-F238E27FC236}">
                <a16:creationId xmlns:a16="http://schemas.microsoft.com/office/drawing/2014/main" id="{7370FD80-460D-47E5-B4D9-49335F9E8906}"/>
              </a:ext>
            </a:extLst>
          </p:cNvPr>
          <p:cNvSpPr/>
          <p:nvPr>
            <p:custDataLst>
              <p:tags r:id="rId57"/>
            </p:custDataLst>
          </p:nvPr>
        </p:nvSpPr>
        <p:spPr bwMode="gray">
          <a:xfrm>
            <a:off x="2978150" y="2009775"/>
            <a:ext cx="114300" cy="114300"/>
          </a:xfrm>
          <a:prstGeom prst="triangle">
            <a:avLst/>
          </a:prstGeom>
          <a:solidFill>
            <a:schemeClr val="tx1"/>
          </a:solidFill>
          <a:ln w="9525" cap="flat" cmpd="sng" algn="ctr">
            <a:solidFill>
              <a:schemeClr val="tx1"/>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00" name="Textplatzhalter 2">
            <a:extLst>
              <a:ext uri="{FF2B5EF4-FFF2-40B4-BE49-F238E27FC236}">
                <a16:creationId xmlns:a16="http://schemas.microsoft.com/office/drawing/2014/main" id="{923FB8B0-C405-46C1-A596-3447E834EC85}"/>
              </a:ext>
            </a:extLst>
          </p:cNvPr>
          <p:cNvSpPr>
            <a:spLocks noGrp="1"/>
          </p:cNvSpPr>
          <p:nvPr>
            <p:custDataLst>
              <p:tags r:id="rId58"/>
            </p:custDataLst>
          </p:nvPr>
        </p:nvSpPr>
        <p:spPr bwMode="auto">
          <a:xfrm>
            <a:off x="385763" y="4956175"/>
            <a:ext cx="881063"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0"/>
              </a:spcBef>
              <a:spcAft>
                <a:spcPts val="0"/>
              </a:spcAft>
              <a:buFont typeface="Arial" pitchFamily="34" charset="0"/>
              <a:buNone/>
              <a:defRPr sz="1600" kern="1200">
                <a:solidFill>
                  <a:schemeClr val="tx1"/>
                </a:solidFill>
                <a:latin typeface="+mn-lt"/>
                <a:ea typeface="+mn-ea"/>
                <a:cs typeface="+mn-cs"/>
              </a:defRPr>
            </a:lvl1pPr>
            <a:lvl2pPr marL="144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2pPr>
            <a:lvl3pPr marL="288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3pPr>
            <a:lvl4pPr marL="432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4pPr>
            <a:lvl5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5pPr>
            <a:lvl6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6pPr>
            <a:lvl7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7pPr>
            <a:lvl8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8pPr>
            <a:lvl9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Tx/>
              <a:buFont typeface="Arial" pitchFamily="34" charset="0"/>
              <a:buNone/>
              <a:tabLst/>
              <a:defRPr/>
            </a:pPr>
            <a:r>
              <a:rPr kumimoji="0" lang="de-DE" altLang="en-US" sz="1000" b="1" i="0" u="none" strike="noStrike" kern="1200" cap="none" spc="0" normalizeH="0" baseline="0" dirty="0">
                <a:ln>
                  <a:noFill/>
                </a:ln>
                <a:effectLst/>
                <a:uLnTx/>
                <a:uFillTx/>
                <a:sym typeface="+mn-lt"/>
              </a:rPr>
              <a:t>Gremientermine</a:t>
            </a:r>
            <a:endParaRPr kumimoji="0" lang="de-DE" sz="1000" b="1" i="0" u="none" strike="noStrike" kern="1200" cap="none" spc="0" normalizeH="0" baseline="0" dirty="0">
              <a:ln>
                <a:noFill/>
              </a:ln>
              <a:effectLst/>
              <a:uLnTx/>
              <a:uFillTx/>
              <a:sym typeface="+mn-lt"/>
            </a:endParaRPr>
          </a:p>
        </p:txBody>
      </p:sp>
      <p:sp>
        <p:nvSpPr>
          <p:cNvPr id="90" name="Textplatzhalter 2">
            <a:extLst>
              <a:ext uri="{FF2B5EF4-FFF2-40B4-BE49-F238E27FC236}">
                <a16:creationId xmlns:a16="http://schemas.microsoft.com/office/drawing/2014/main" id="{A68C1805-8169-4C44-B6A4-F0A56ED7DD00}"/>
              </a:ext>
            </a:extLst>
          </p:cNvPr>
          <p:cNvSpPr>
            <a:spLocks noGrp="1"/>
          </p:cNvSpPr>
          <p:nvPr>
            <p:custDataLst>
              <p:tags r:id="rId59"/>
            </p:custDataLst>
          </p:nvPr>
        </p:nvSpPr>
        <p:spPr bwMode="auto">
          <a:xfrm>
            <a:off x="10785475" y="4413250"/>
            <a:ext cx="735013"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685800" rtl="0" eaLnBrk="1" latinLnBrk="0" hangingPunct="1">
              <a:spcBef>
                <a:spcPts val="0"/>
              </a:spcBef>
              <a:spcAft>
                <a:spcPts val="0"/>
              </a:spcAft>
              <a:buFont typeface="Arial" pitchFamily="34" charset="0"/>
              <a:buNone/>
              <a:defRPr sz="1200" kern="1200">
                <a:solidFill>
                  <a:schemeClr val="tx1"/>
                </a:solidFill>
                <a:latin typeface="Lato Light" panose="020F0302020204030203" pitchFamily="34" charset="0"/>
                <a:ea typeface="+mn-ea"/>
                <a:cs typeface="Arial" panose="020B0604020202020204" pitchFamily="34" charset="0"/>
              </a:defRPr>
            </a:lvl1pPr>
            <a:lvl2pPr marL="108000" indent="-108000" algn="l" defTabSz="685800" rtl="0" eaLnBrk="1" latinLnBrk="0" hangingPunct="1">
              <a:spcBef>
                <a:spcPts val="0"/>
              </a:spcBef>
              <a:spcAft>
                <a:spcPts val="0"/>
              </a:spcAft>
              <a:buFont typeface="Arial" panose="020B0604020202020204" pitchFamily="34" charset="0"/>
              <a:buChar char="•"/>
              <a:defRPr sz="1200" kern="1200">
                <a:solidFill>
                  <a:schemeClr val="tx1"/>
                </a:solidFill>
                <a:latin typeface="Lato Light" panose="020F0302020204030203" pitchFamily="34" charset="0"/>
                <a:ea typeface="+mn-ea"/>
                <a:cs typeface="Arial" panose="020B0604020202020204" pitchFamily="34" charset="0"/>
              </a:defRPr>
            </a:lvl2pPr>
            <a:lvl3pPr marL="216000" indent="-108000" algn="l" defTabSz="685800" rtl="0" eaLnBrk="1" latinLnBrk="0" hangingPunct="1">
              <a:spcBef>
                <a:spcPts val="0"/>
              </a:spcBef>
              <a:spcAft>
                <a:spcPts val="0"/>
              </a:spcAft>
              <a:buFont typeface="Arial" panose="020B0604020202020204" pitchFamily="34" charset="0"/>
              <a:buChar char="•"/>
              <a:defRPr sz="1200" kern="1200">
                <a:solidFill>
                  <a:schemeClr val="tx1"/>
                </a:solidFill>
                <a:latin typeface="Lato Light" panose="020F0302020204030203" pitchFamily="34" charset="0"/>
                <a:ea typeface="+mn-ea"/>
                <a:cs typeface="Arial" panose="020B0604020202020204" pitchFamily="34" charset="0"/>
              </a:defRPr>
            </a:lvl3pPr>
            <a:lvl4pPr marL="324000" indent="-108000" algn="l" defTabSz="685800" rtl="0" eaLnBrk="1" latinLnBrk="0" hangingPunct="1">
              <a:spcBef>
                <a:spcPts val="0"/>
              </a:spcBef>
              <a:spcAft>
                <a:spcPts val="0"/>
              </a:spcAft>
              <a:buSzPct val="100000"/>
              <a:buFont typeface="Arial" panose="020B0604020202020204" pitchFamily="34" charset="0"/>
              <a:buChar char="•"/>
              <a:defRPr sz="1200" kern="1200">
                <a:solidFill>
                  <a:schemeClr val="tx1"/>
                </a:solidFill>
                <a:latin typeface="Lato Light" panose="020F0302020204030203" pitchFamily="34" charset="0"/>
                <a:ea typeface="+mn-ea"/>
                <a:cs typeface="Arial" panose="020B0604020202020204" pitchFamily="34" charset="0"/>
              </a:defRPr>
            </a:lvl4pPr>
            <a:lvl5pPr marL="432000" indent="-108000" algn="l" defTabSz="685800" rtl="0" eaLnBrk="1" latinLnBrk="0" hangingPunct="1">
              <a:spcBef>
                <a:spcPts val="0"/>
              </a:spcBef>
              <a:spcAft>
                <a:spcPts val="0"/>
              </a:spcAft>
              <a:buSzPct val="100000"/>
              <a:buFont typeface="Arial" panose="020B0604020202020204" pitchFamily="34" charset="0"/>
              <a:buChar char="•"/>
              <a:defRPr sz="1200" kern="1200">
                <a:solidFill>
                  <a:schemeClr val="tx1"/>
                </a:solidFill>
                <a:latin typeface="Lato Light" panose="020F0302020204030203" pitchFamily="34" charset="0"/>
                <a:ea typeface="+mn-ea"/>
                <a:cs typeface="Arial" panose="020B0604020202020204" pitchFamily="34" charset="0"/>
              </a:defRPr>
            </a:lvl5pPr>
            <a:lvl6pPr marL="432000" indent="-108000" algn="l" defTabSz="685800" rtl="0" eaLnBrk="1" latinLnBrk="0" hangingPunct="1">
              <a:spcBef>
                <a:spcPts val="0"/>
              </a:spcBef>
              <a:spcAft>
                <a:spcPts val="0"/>
              </a:spcAft>
              <a:buSzPct val="100000"/>
              <a:buFont typeface="Arial" panose="020B0604020202020204" pitchFamily="34" charset="0"/>
              <a:buChar char="•"/>
              <a:defRPr sz="1200" kern="1200">
                <a:solidFill>
                  <a:schemeClr val="tx1"/>
                </a:solidFill>
                <a:latin typeface="Lato Light" panose="020F0302020204030203" pitchFamily="34" charset="0"/>
                <a:ea typeface="+mn-ea"/>
                <a:cs typeface="Arial" panose="020B0604020202020204" pitchFamily="34" charset="0"/>
              </a:defRPr>
            </a:lvl6pPr>
            <a:lvl7pPr marL="432000" indent="-108000" algn="l" defTabSz="685800" rtl="0" eaLnBrk="1" latinLnBrk="0" hangingPunct="1">
              <a:spcBef>
                <a:spcPts val="0"/>
              </a:spcBef>
              <a:spcAft>
                <a:spcPts val="0"/>
              </a:spcAft>
              <a:buSzPct val="100000"/>
              <a:buFont typeface="Arial" panose="020B0604020202020204" pitchFamily="34" charset="0"/>
              <a:buChar char="•"/>
              <a:defRPr sz="1200" kern="1200">
                <a:solidFill>
                  <a:schemeClr val="tx1"/>
                </a:solidFill>
                <a:latin typeface="Lato Light" panose="020F0302020204030203" pitchFamily="34" charset="0"/>
                <a:ea typeface="+mn-ea"/>
                <a:cs typeface="Arial" panose="020B0604020202020204" pitchFamily="34" charset="0"/>
              </a:defRPr>
            </a:lvl7pPr>
            <a:lvl8pPr marL="432000" indent="-108000" algn="l" defTabSz="685800" rtl="0" eaLnBrk="1" latinLnBrk="0" hangingPunct="1">
              <a:spcBef>
                <a:spcPts val="0"/>
              </a:spcBef>
              <a:spcAft>
                <a:spcPts val="0"/>
              </a:spcAft>
              <a:buSzPct val="100000"/>
              <a:buFont typeface="Arial" panose="020B0604020202020204" pitchFamily="34" charset="0"/>
              <a:buChar char="•"/>
              <a:defRPr sz="1200" kern="1200">
                <a:solidFill>
                  <a:schemeClr val="tx1"/>
                </a:solidFill>
                <a:latin typeface="Lato Light" panose="020F0302020204030203" pitchFamily="34" charset="0"/>
                <a:ea typeface="+mn-ea"/>
                <a:cs typeface="Arial" panose="020B0604020202020204" pitchFamily="34" charset="0"/>
              </a:defRPr>
            </a:lvl8pPr>
            <a:lvl9pPr marL="432000" indent="-108000" algn="l" defTabSz="685800" rtl="0" eaLnBrk="1" latinLnBrk="0" hangingPunct="1">
              <a:spcBef>
                <a:spcPts val="0"/>
              </a:spcBef>
              <a:spcAft>
                <a:spcPts val="0"/>
              </a:spcAft>
              <a:buSzPct val="100000"/>
              <a:buFont typeface="Arial" panose="020B0604020202020204" pitchFamily="34" charset="0"/>
              <a:buChar char="•"/>
              <a:defRPr sz="1200" kern="1200" baseline="0">
                <a:solidFill>
                  <a:schemeClr val="tx1"/>
                </a:solidFill>
                <a:latin typeface="Lato Light" panose="020F0302020204030203" pitchFamily="34" charset="0"/>
                <a:ea typeface="+mn-ea"/>
                <a:cs typeface="Arial" panose="020B0604020202020204" pitchFamily="34" charset="0"/>
              </a:defRPr>
            </a:lvl9pPr>
          </a:lstStyle>
          <a:p>
            <a:pPr>
              <a:spcBef>
                <a:spcPct val="0"/>
              </a:spcBef>
              <a:spcAft>
                <a:spcPct val="0"/>
              </a:spcAft>
            </a:pPr>
            <a:r>
              <a:rPr lang="de-DE" sz="1000" dirty="0">
                <a:solidFill>
                  <a:schemeClr val="tx1"/>
                </a:solidFill>
              </a:rPr>
              <a:t>Thomas Horn</a:t>
            </a:r>
            <a:endParaRPr lang="de-DE" sz="1000" noProof="0" dirty="0">
              <a:latin typeface="+mn-lt"/>
              <a:cs typeface="+mn-cs"/>
              <a:sym typeface="+mn-lt"/>
            </a:endParaRPr>
          </a:p>
        </p:txBody>
      </p:sp>
      <p:sp>
        <p:nvSpPr>
          <p:cNvPr id="91" name="Textplatzhalter 2">
            <a:extLst>
              <a:ext uri="{FF2B5EF4-FFF2-40B4-BE49-F238E27FC236}">
                <a16:creationId xmlns:a16="http://schemas.microsoft.com/office/drawing/2014/main" id="{7869FB36-B0B5-4160-A6B2-1E229D8BF1F3}"/>
              </a:ext>
            </a:extLst>
          </p:cNvPr>
          <p:cNvSpPr>
            <a:spLocks noGrp="1"/>
          </p:cNvSpPr>
          <p:nvPr>
            <p:custDataLst>
              <p:tags r:id="rId60"/>
            </p:custDataLst>
          </p:nvPr>
        </p:nvSpPr>
        <p:spPr bwMode="auto">
          <a:xfrm>
            <a:off x="10785475" y="4660900"/>
            <a:ext cx="715963"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685800" rtl="0" eaLnBrk="1" latinLnBrk="0" hangingPunct="1">
              <a:spcBef>
                <a:spcPts val="0"/>
              </a:spcBef>
              <a:spcAft>
                <a:spcPts val="0"/>
              </a:spcAft>
              <a:buFont typeface="Arial" pitchFamily="34" charset="0"/>
              <a:buNone/>
              <a:defRPr sz="1200" kern="1200">
                <a:solidFill>
                  <a:schemeClr val="tx1"/>
                </a:solidFill>
                <a:latin typeface="Lato Light" panose="020F0302020204030203" pitchFamily="34" charset="0"/>
                <a:ea typeface="+mn-ea"/>
                <a:cs typeface="Arial" panose="020B0604020202020204" pitchFamily="34" charset="0"/>
              </a:defRPr>
            </a:lvl1pPr>
            <a:lvl2pPr marL="108000" indent="-108000" algn="l" defTabSz="685800" rtl="0" eaLnBrk="1" latinLnBrk="0" hangingPunct="1">
              <a:spcBef>
                <a:spcPts val="0"/>
              </a:spcBef>
              <a:spcAft>
                <a:spcPts val="0"/>
              </a:spcAft>
              <a:buFont typeface="Arial" panose="020B0604020202020204" pitchFamily="34" charset="0"/>
              <a:buChar char="•"/>
              <a:defRPr sz="1200" kern="1200">
                <a:solidFill>
                  <a:schemeClr val="tx1"/>
                </a:solidFill>
                <a:latin typeface="Lato Light" panose="020F0302020204030203" pitchFamily="34" charset="0"/>
                <a:ea typeface="+mn-ea"/>
                <a:cs typeface="Arial" panose="020B0604020202020204" pitchFamily="34" charset="0"/>
              </a:defRPr>
            </a:lvl2pPr>
            <a:lvl3pPr marL="216000" indent="-108000" algn="l" defTabSz="685800" rtl="0" eaLnBrk="1" latinLnBrk="0" hangingPunct="1">
              <a:spcBef>
                <a:spcPts val="0"/>
              </a:spcBef>
              <a:spcAft>
                <a:spcPts val="0"/>
              </a:spcAft>
              <a:buFont typeface="Arial" panose="020B0604020202020204" pitchFamily="34" charset="0"/>
              <a:buChar char="•"/>
              <a:defRPr sz="1200" kern="1200">
                <a:solidFill>
                  <a:schemeClr val="tx1"/>
                </a:solidFill>
                <a:latin typeface="Lato Light" panose="020F0302020204030203" pitchFamily="34" charset="0"/>
                <a:ea typeface="+mn-ea"/>
                <a:cs typeface="Arial" panose="020B0604020202020204" pitchFamily="34" charset="0"/>
              </a:defRPr>
            </a:lvl3pPr>
            <a:lvl4pPr marL="324000" indent="-108000" algn="l" defTabSz="685800" rtl="0" eaLnBrk="1" latinLnBrk="0" hangingPunct="1">
              <a:spcBef>
                <a:spcPts val="0"/>
              </a:spcBef>
              <a:spcAft>
                <a:spcPts val="0"/>
              </a:spcAft>
              <a:buSzPct val="100000"/>
              <a:buFont typeface="Arial" panose="020B0604020202020204" pitchFamily="34" charset="0"/>
              <a:buChar char="•"/>
              <a:defRPr sz="1200" kern="1200">
                <a:solidFill>
                  <a:schemeClr val="tx1"/>
                </a:solidFill>
                <a:latin typeface="Lato Light" panose="020F0302020204030203" pitchFamily="34" charset="0"/>
                <a:ea typeface="+mn-ea"/>
                <a:cs typeface="Arial" panose="020B0604020202020204" pitchFamily="34" charset="0"/>
              </a:defRPr>
            </a:lvl4pPr>
            <a:lvl5pPr marL="432000" indent="-108000" algn="l" defTabSz="685800" rtl="0" eaLnBrk="1" latinLnBrk="0" hangingPunct="1">
              <a:spcBef>
                <a:spcPts val="0"/>
              </a:spcBef>
              <a:spcAft>
                <a:spcPts val="0"/>
              </a:spcAft>
              <a:buSzPct val="100000"/>
              <a:buFont typeface="Arial" panose="020B0604020202020204" pitchFamily="34" charset="0"/>
              <a:buChar char="•"/>
              <a:defRPr sz="1200" kern="1200">
                <a:solidFill>
                  <a:schemeClr val="tx1"/>
                </a:solidFill>
                <a:latin typeface="Lato Light" panose="020F0302020204030203" pitchFamily="34" charset="0"/>
                <a:ea typeface="+mn-ea"/>
                <a:cs typeface="Arial" panose="020B0604020202020204" pitchFamily="34" charset="0"/>
              </a:defRPr>
            </a:lvl5pPr>
            <a:lvl6pPr marL="432000" indent="-108000" algn="l" defTabSz="685800" rtl="0" eaLnBrk="1" latinLnBrk="0" hangingPunct="1">
              <a:spcBef>
                <a:spcPts val="0"/>
              </a:spcBef>
              <a:spcAft>
                <a:spcPts val="0"/>
              </a:spcAft>
              <a:buSzPct val="100000"/>
              <a:buFont typeface="Arial" panose="020B0604020202020204" pitchFamily="34" charset="0"/>
              <a:buChar char="•"/>
              <a:defRPr sz="1200" kern="1200">
                <a:solidFill>
                  <a:schemeClr val="tx1"/>
                </a:solidFill>
                <a:latin typeface="Lato Light" panose="020F0302020204030203" pitchFamily="34" charset="0"/>
                <a:ea typeface="+mn-ea"/>
                <a:cs typeface="Arial" panose="020B0604020202020204" pitchFamily="34" charset="0"/>
              </a:defRPr>
            </a:lvl6pPr>
            <a:lvl7pPr marL="432000" indent="-108000" algn="l" defTabSz="685800" rtl="0" eaLnBrk="1" latinLnBrk="0" hangingPunct="1">
              <a:spcBef>
                <a:spcPts val="0"/>
              </a:spcBef>
              <a:spcAft>
                <a:spcPts val="0"/>
              </a:spcAft>
              <a:buSzPct val="100000"/>
              <a:buFont typeface="Arial" panose="020B0604020202020204" pitchFamily="34" charset="0"/>
              <a:buChar char="•"/>
              <a:defRPr sz="1200" kern="1200">
                <a:solidFill>
                  <a:schemeClr val="tx1"/>
                </a:solidFill>
                <a:latin typeface="Lato Light" panose="020F0302020204030203" pitchFamily="34" charset="0"/>
                <a:ea typeface="+mn-ea"/>
                <a:cs typeface="Arial" panose="020B0604020202020204" pitchFamily="34" charset="0"/>
              </a:defRPr>
            </a:lvl7pPr>
            <a:lvl8pPr marL="432000" indent="-108000" algn="l" defTabSz="685800" rtl="0" eaLnBrk="1" latinLnBrk="0" hangingPunct="1">
              <a:spcBef>
                <a:spcPts val="0"/>
              </a:spcBef>
              <a:spcAft>
                <a:spcPts val="0"/>
              </a:spcAft>
              <a:buSzPct val="100000"/>
              <a:buFont typeface="Arial" panose="020B0604020202020204" pitchFamily="34" charset="0"/>
              <a:buChar char="•"/>
              <a:defRPr sz="1200" kern="1200">
                <a:solidFill>
                  <a:schemeClr val="tx1"/>
                </a:solidFill>
                <a:latin typeface="Lato Light" panose="020F0302020204030203" pitchFamily="34" charset="0"/>
                <a:ea typeface="+mn-ea"/>
                <a:cs typeface="Arial" panose="020B0604020202020204" pitchFamily="34" charset="0"/>
              </a:defRPr>
            </a:lvl8pPr>
            <a:lvl9pPr marL="432000" indent="-108000" algn="l" defTabSz="685800" rtl="0" eaLnBrk="1" latinLnBrk="0" hangingPunct="1">
              <a:spcBef>
                <a:spcPts val="0"/>
              </a:spcBef>
              <a:spcAft>
                <a:spcPts val="0"/>
              </a:spcAft>
              <a:buSzPct val="100000"/>
              <a:buFont typeface="Arial" panose="020B0604020202020204" pitchFamily="34" charset="0"/>
              <a:buChar char="•"/>
              <a:defRPr sz="1200" kern="1200" baseline="0">
                <a:solidFill>
                  <a:schemeClr val="tx1"/>
                </a:solidFill>
                <a:latin typeface="Lato Light" panose="020F0302020204030203" pitchFamily="34" charset="0"/>
                <a:ea typeface="+mn-ea"/>
                <a:cs typeface="Arial" panose="020B0604020202020204" pitchFamily="34" charset="0"/>
              </a:defRPr>
            </a:lvl9pPr>
          </a:lstStyle>
          <a:p>
            <a:pPr>
              <a:spcBef>
                <a:spcPct val="0"/>
              </a:spcBef>
              <a:spcAft>
                <a:spcPct val="0"/>
              </a:spcAft>
            </a:pPr>
            <a:r>
              <a:rPr lang="de-DE" sz="1000" dirty="0"/>
              <a:t>Alexa Schmid</a:t>
            </a:r>
            <a:endParaRPr lang="de-DE" sz="1000" noProof="0" dirty="0">
              <a:latin typeface="+mn-lt"/>
              <a:cs typeface="+mn-cs"/>
              <a:sym typeface="+mn-lt"/>
            </a:endParaRPr>
          </a:p>
        </p:txBody>
      </p:sp>
      <p:sp>
        <p:nvSpPr>
          <p:cNvPr id="88" name="Textplatzhalter 2">
            <a:extLst>
              <a:ext uri="{FF2B5EF4-FFF2-40B4-BE49-F238E27FC236}">
                <a16:creationId xmlns:a16="http://schemas.microsoft.com/office/drawing/2014/main" id="{57D97364-54FF-4677-989E-EF23EF00B84D}"/>
              </a:ext>
            </a:extLst>
          </p:cNvPr>
          <p:cNvSpPr>
            <a:spLocks noGrp="1"/>
          </p:cNvSpPr>
          <p:nvPr>
            <p:custDataLst>
              <p:tags r:id="rId61"/>
            </p:custDataLst>
          </p:nvPr>
        </p:nvSpPr>
        <p:spPr bwMode="auto">
          <a:xfrm>
            <a:off x="10785475" y="3870325"/>
            <a:ext cx="715963"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685800" rtl="0" eaLnBrk="1" latinLnBrk="0" hangingPunct="1">
              <a:spcBef>
                <a:spcPts val="0"/>
              </a:spcBef>
              <a:spcAft>
                <a:spcPts val="0"/>
              </a:spcAft>
              <a:buFont typeface="Arial" pitchFamily="34" charset="0"/>
              <a:buNone/>
              <a:defRPr sz="1200" kern="1200">
                <a:solidFill>
                  <a:schemeClr val="tx1"/>
                </a:solidFill>
                <a:latin typeface="Lato Light" panose="020F0302020204030203" pitchFamily="34" charset="0"/>
                <a:ea typeface="+mn-ea"/>
                <a:cs typeface="Arial" panose="020B0604020202020204" pitchFamily="34" charset="0"/>
              </a:defRPr>
            </a:lvl1pPr>
            <a:lvl2pPr marL="108000" indent="-108000" algn="l" defTabSz="685800" rtl="0" eaLnBrk="1" latinLnBrk="0" hangingPunct="1">
              <a:spcBef>
                <a:spcPts val="0"/>
              </a:spcBef>
              <a:spcAft>
                <a:spcPts val="0"/>
              </a:spcAft>
              <a:buFont typeface="Arial" panose="020B0604020202020204" pitchFamily="34" charset="0"/>
              <a:buChar char="•"/>
              <a:defRPr sz="1200" kern="1200">
                <a:solidFill>
                  <a:schemeClr val="tx1"/>
                </a:solidFill>
                <a:latin typeface="Lato Light" panose="020F0302020204030203" pitchFamily="34" charset="0"/>
                <a:ea typeface="+mn-ea"/>
                <a:cs typeface="Arial" panose="020B0604020202020204" pitchFamily="34" charset="0"/>
              </a:defRPr>
            </a:lvl2pPr>
            <a:lvl3pPr marL="216000" indent="-108000" algn="l" defTabSz="685800" rtl="0" eaLnBrk="1" latinLnBrk="0" hangingPunct="1">
              <a:spcBef>
                <a:spcPts val="0"/>
              </a:spcBef>
              <a:spcAft>
                <a:spcPts val="0"/>
              </a:spcAft>
              <a:buFont typeface="Arial" panose="020B0604020202020204" pitchFamily="34" charset="0"/>
              <a:buChar char="•"/>
              <a:defRPr sz="1200" kern="1200">
                <a:solidFill>
                  <a:schemeClr val="tx1"/>
                </a:solidFill>
                <a:latin typeface="Lato Light" panose="020F0302020204030203" pitchFamily="34" charset="0"/>
                <a:ea typeface="+mn-ea"/>
                <a:cs typeface="Arial" panose="020B0604020202020204" pitchFamily="34" charset="0"/>
              </a:defRPr>
            </a:lvl3pPr>
            <a:lvl4pPr marL="324000" indent="-108000" algn="l" defTabSz="685800" rtl="0" eaLnBrk="1" latinLnBrk="0" hangingPunct="1">
              <a:spcBef>
                <a:spcPts val="0"/>
              </a:spcBef>
              <a:spcAft>
                <a:spcPts val="0"/>
              </a:spcAft>
              <a:buSzPct val="100000"/>
              <a:buFont typeface="Arial" panose="020B0604020202020204" pitchFamily="34" charset="0"/>
              <a:buChar char="•"/>
              <a:defRPr sz="1200" kern="1200">
                <a:solidFill>
                  <a:schemeClr val="tx1"/>
                </a:solidFill>
                <a:latin typeface="Lato Light" panose="020F0302020204030203" pitchFamily="34" charset="0"/>
                <a:ea typeface="+mn-ea"/>
                <a:cs typeface="Arial" panose="020B0604020202020204" pitchFamily="34" charset="0"/>
              </a:defRPr>
            </a:lvl4pPr>
            <a:lvl5pPr marL="432000" indent="-108000" algn="l" defTabSz="685800" rtl="0" eaLnBrk="1" latinLnBrk="0" hangingPunct="1">
              <a:spcBef>
                <a:spcPts val="0"/>
              </a:spcBef>
              <a:spcAft>
                <a:spcPts val="0"/>
              </a:spcAft>
              <a:buSzPct val="100000"/>
              <a:buFont typeface="Arial" panose="020B0604020202020204" pitchFamily="34" charset="0"/>
              <a:buChar char="•"/>
              <a:defRPr sz="1200" kern="1200">
                <a:solidFill>
                  <a:schemeClr val="tx1"/>
                </a:solidFill>
                <a:latin typeface="Lato Light" panose="020F0302020204030203" pitchFamily="34" charset="0"/>
                <a:ea typeface="+mn-ea"/>
                <a:cs typeface="Arial" panose="020B0604020202020204" pitchFamily="34" charset="0"/>
              </a:defRPr>
            </a:lvl5pPr>
            <a:lvl6pPr marL="432000" indent="-108000" algn="l" defTabSz="685800" rtl="0" eaLnBrk="1" latinLnBrk="0" hangingPunct="1">
              <a:spcBef>
                <a:spcPts val="0"/>
              </a:spcBef>
              <a:spcAft>
                <a:spcPts val="0"/>
              </a:spcAft>
              <a:buSzPct val="100000"/>
              <a:buFont typeface="Arial" panose="020B0604020202020204" pitchFamily="34" charset="0"/>
              <a:buChar char="•"/>
              <a:defRPr sz="1200" kern="1200">
                <a:solidFill>
                  <a:schemeClr val="tx1"/>
                </a:solidFill>
                <a:latin typeface="Lato Light" panose="020F0302020204030203" pitchFamily="34" charset="0"/>
                <a:ea typeface="+mn-ea"/>
                <a:cs typeface="Arial" panose="020B0604020202020204" pitchFamily="34" charset="0"/>
              </a:defRPr>
            </a:lvl6pPr>
            <a:lvl7pPr marL="432000" indent="-108000" algn="l" defTabSz="685800" rtl="0" eaLnBrk="1" latinLnBrk="0" hangingPunct="1">
              <a:spcBef>
                <a:spcPts val="0"/>
              </a:spcBef>
              <a:spcAft>
                <a:spcPts val="0"/>
              </a:spcAft>
              <a:buSzPct val="100000"/>
              <a:buFont typeface="Arial" panose="020B0604020202020204" pitchFamily="34" charset="0"/>
              <a:buChar char="•"/>
              <a:defRPr sz="1200" kern="1200">
                <a:solidFill>
                  <a:schemeClr val="tx1"/>
                </a:solidFill>
                <a:latin typeface="Lato Light" panose="020F0302020204030203" pitchFamily="34" charset="0"/>
                <a:ea typeface="+mn-ea"/>
                <a:cs typeface="Arial" panose="020B0604020202020204" pitchFamily="34" charset="0"/>
              </a:defRPr>
            </a:lvl7pPr>
            <a:lvl8pPr marL="432000" indent="-108000" algn="l" defTabSz="685800" rtl="0" eaLnBrk="1" latinLnBrk="0" hangingPunct="1">
              <a:spcBef>
                <a:spcPts val="0"/>
              </a:spcBef>
              <a:spcAft>
                <a:spcPts val="0"/>
              </a:spcAft>
              <a:buSzPct val="100000"/>
              <a:buFont typeface="Arial" panose="020B0604020202020204" pitchFamily="34" charset="0"/>
              <a:buChar char="•"/>
              <a:defRPr sz="1200" kern="1200">
                <a:solidFill>
                  <a:schemeClr val="tx1"/>
                </a:solidFill>
                <a:latin typeface="Lato Light" panose="020F0302020204030203" pitchFamily="34" charset="0"/>
                <a:ea typeface="+mn-ea"/>
                <a:cs typeface="Arial" panose="020B0604020202020204" pitchFamily="34" charset="0"/>
              </a:defRPr>
            </a:lvl8pPr>
            <a:lvl9pPr marL="432000" indent="-108000" algn="l" defTabSz="685800" rtl="0" eaLnBrk="1" latinLnBrk="0" hangingPunct="1">
              <a:spcBef>
                <a:spcPts val="0"/>
              </a:spcBef>
              <a:spcAft>
                <a:spcPts val="0"/>
              </a:spcAft>
              <a:buSzPct val="100000"/>
              <a:buFont typeface="Arial" panose="020B0604020202020204" pitchFamily="34" charset="0"/>
              <a:buChar char="•"/>
              <a:defRPr sz="1200" kern="1200" baseline="0">
                <a:solidFill>
                  <a:schemeClr val="tx1"/>
                </a:solidFill>
                <a:latin typeface="Lato Light" panose="020F0302020204030203" pitchFamily="34" charset="0"/>
                <a:ea typeface="+mn-ea"/>
                <a:cs typeface="Arial" panose="020B0604020202020204" pitchFamily="34" charset="0"/>
              </a:defRPr>
            </a:lvl9pPr>
          </a:lstStyle>
          <a:p>
            <a:pPr>
              <a:spcBef>
                <a:spcPct val="0"/>
              </a:spcBef>
              <a:spcAft>
                <a:spcPct val="0"/>
              </a:spcAft>
            </a:pPr>
            <a:r>
              <a:rPr lang="de-DE" sz="1000" dirty="0"/>
              <a:t>Alexa Schmid</a:t>
            </a:r>
            <a:endParaRPr lang="de-DE" sz="1000" noProof="0" dirty="0">
              <a:latin typeface="+mn-lt"/>
              <a:cs typeface="+mn-cs"/>
              <a:sym typeface="+mn-lt"/>
            </a:endParaRPr>
          </a:p>
        </p:txBody>
      </p:sp>
      <p:sp>
        <p:nvSpPr>
          <p:cNvPr id="101" name="Textplatzhalter 2">
            <a:extLst>
              <a:ext uri="{FF2B5EF4-FFF2-40B4-BE49-F238E27FC236}">
                <a16:creationId xmlns:a16="http://schemas.microsoft.com/office/drawing/2014/main" id="{7634D66E-383B-4F91-92E5-AA92483898A7}"/>
              </a:ext>
            </a:extLst>
          </p:cNvPr>
          <p:cNvSpPr>
            <a:spLocks noGrp="1"/>
          </p:cNvSpPr>
          <p:nvPr>
            <p:custDataLst>
              <p:tags r:id="rId62"/>
            </p:custDataLst>
          </p:nvPr>
        </p:nvSpPr>
        <p:spPr bwMode="gray">
          <a:xfrm>
            <a:off x="385763" y="4660900"/>
            <a:ext cx="1393825"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0"/>
              </a:spcBef>
              <a:spcAft>
                <a:spcPts val="0"/>
              </a:spcAft>
              <a:buFont typeface="Arial" pitchFamily="34" charset="0"/>
              <a:buNone/>
              <a:defRPr sz="1600" kern="1200">
                <a:solidFill>
                  <a:schemeClr val="tx1"/>
                </a:solidFill>
                <a:latin typeface="+mn-lt"/>
                <a:ea typeface="+mn-ea"/>
                <a:cs typeface="+mn-cs"/>
              </a:defRPr>
            </a:lvl1pPr>
            <a:lvl2pPr marL="144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2pPr>
            <a:lvl3pPr marL="288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3pPr>
            <a:lvl4pPr marL="432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4pPr>
            <a:lvl5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5pPr>
            <a:lvl6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6pPr>
            <a:lvl7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7pPr>
            <a:lvl8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8pPr>
            <a:lvl9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9pPr>
          </a:lstStyle>
          <a:p>
            <a:pPr lvl="0">
              <a:spcBef>
                <a:spcPct val="0"/>
              </a:spcBef>
              <a:spcAft>
                <a:spcPct val="0"/>
              </a:spcAft>
              <a:defRPr/>
            </a:pPr>
            <a:r>
              <a:rPr lang="de-DE" altLang="en-US" sz="1000" dirty="0">
                <a:solidFill>
                  <a:prstClr val="black"/>
                </a:solidFill>
                <a:sym typeface="+mn-lt"/>
              </a:rPr>
              <a:t>Abstimmung Maßnahmen</a:t>
            </a:r>
          </a:p>
        </p:txBody>
      </p:sp>
      <p:sp>
        <p:nvSpPr>
          <p:cNvPr id="92" name="Textplatzhalter 2">
            <a:extLst>
              <a:ext uri="{FF2B5EF4-FFF2-40B4-BE49-F238E27FC236}">
                <a16:creationId xmlns:a16="http://schemas.microsoft.com/office/drawing/2014/main" id="{094BA4A4-1FD7-4857-A6C7-6E8D1C21CE96}"/>
              </a:ext>
            </a:extLst>
          </p:cNvPr>
          <p:cNvSpPr>
            <a:spLocks noGrp="1"/>
          </p:cNvSpPr>
          <p:nvPr>
            <p:custDataLst>
              <p:tags r:id="rId63"/>
            </p:custDataLst>
          </p:nvPr>
        </p:nvSpPr>
        <p:spPr bwMode="auto">
          <a:xfrm>
            <a:off x="10785475" y="4956175"/>
            <a:ext cx="758825"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685800" rtl="0" eaLnBrk="1" latinLnBrk="0" hangingPunct="1">
              <a:spcBef>
                <a:spcPts val="0"/>
              </a:spcBef>
              <a:spcAft>
                <a:spcPts val="0"/>
              </a:spcAft>
              <a:buFont typeface="Arial" pitchFamily="34" charset="0"/>
              <a:buNone/>
              <a:defRPr sz="1200" kern="1200">
                <a:solidFill>
                  <a:schemeClr val="tx1"/>
                </a:solidFill>
                <a:latin typeface="Lato Light" panose="020F0302020204030203" pitchFamily="34" charset="0"/>
                <a:ea typeface="+mn-ea"/>
                <a:cs typeface="Arial" panose="020B0604020202020204" pitchFamily="34" charset="0"/>
              </a:defRPr>
            </a:lvl1pPr>
            <a:lvl2pPr marL="108000" indent="-108000" algn="l" defTabSz="685800" rtl="0" eaLnBrk="1" latinLnBrk="0" hangingPunct="1">
              <a:spcBef>
                <a:spcPts val="0"/>
              </a:spcBef>
              <a:spcAft>
                <a:spcPts val="0"/>
              </a:spcAft>
              <a:buFont typeface="Arial" panose="020B0604020202020204" pitchFamily="34" charset="0"/>
              <a:buChar char="•"/>
              <a:defRPr sz="1200" kern="1200">
                <a:solidFill>
                  <a:schemeClr val="tx1"/>
                </a:solidFill>
                <a:latin typeface="Lato Light" panose="020F0302020204030203" pitchFamily="34" charset="0"/>
                <a:ea typeface="+mn-ea"/>
                <a:cs typeface="Arial" panose="020B0604020202020204" pitchFamily="34" charset="0"/>
              </a:defRPr>
            </a:lvl2pPr>
            <a:lvl3pPr marL="216000" indent="-108000" algn="l" defTabSz="685800" rtl="0" eaLnBrk="1" latinLnBrk="0" hangingPunct="1">
              <a:spcBef>
                <a:spcPts val="0"/>
              </a:spcBef>
              <a:spcAft>
                <a:spcPts val="0"/>
              </a:spcAft>
              <a:buFont typeface="Arial" panose="020B0604020202020204" pitchFamily="34" charset="0"/>
              <a:buChar char="•"/>
              <a:defRPr sz="1200" kern="1200">
                <a:solidFill>
                  <a:schemeClr val="tx1"/>
                </a:solidFill>
                <a:latin typeface="Lato Light" panose="020F0302020204030203" pitchFamily="34" charset="0"/>
                <a:ea typeface="+mn-ea"/>
                <a:cs typeface="Arial" panose="020B0604020202020204" pitchFamily="34" charset="0"/>
              </a:defRPr>
            </a:lvl3pPr>
            <a:lvl4pPr marL="324000" indent="-108000" algn="l" defTabSz="685800" rtl="0" eaLnBrk="1" latinLnBrk="0" hangingPunct="1">
              <a:spcBef>
                <a:spcPts val="0"/>
              </a:spcBef>
              <a:spcAft>
                <a:spcPts val="0"/>
              </a:spcAft>
              <a:buSzPct val="100000"/>
              <a:buFont typeface="Arial" panose="020B0604020202020204" pitchFamily="34" charset="0"/>
              <a:buChar char="•"/>
              <a:defRPr sz="1200" kern="1200">
                <a:solidFill>
                  <a:schemeClr val="tx1"/>
                </a:solidFill>
                <a:latin typeface="Lato Light" panose="020F0302020204030203" pitchFamily="34" charset="0"/>
                <a:ea typeface="+mn-ea"/>
                <a:cs typeface="Arial" panose="020B0604020202020204" pitchFamily="34" charset="0"/>
              </a:defRPr>
            </a:lvl4pPr>
            <a:lvl5pPr marL="432000" indent="-108000" algn="l" defTabSz="685800" rtl="0" eaLnBrk="1" latinLnBrk="0" hangingPunct="1">
              <a:spcBef>
                <a:spcPts val="0"/>
              </a:spcBef>
              <a:spcAft>
                <a:spcPts val="0"/>
              </a:spcAft>
              <a:buSzPct val="100000"/>
              <a:buFont typeface="Arial" panose="020B0604020202020204" pitchFamily="34" charset="0"/>
              <a:buChar char="•"/>
              <a:defRPr sz="1200" kern="1200">
                <a:solidFill>
                  <a:schemeClr val="tx1"/>
                </a:solidFill>
                <a:latin typeface="Lato Light" panose="020F0302020204030203" pitchFamily="34" charset="0"/>
                <a:ea typeface="+mn-ea"/>
                <a:cs typeface="Arial" panose="020B0604020202020204" pitchFamily="34" charset="0"/>
              </a:defRPr>
            </a:lvl5pPr>
            <a:lvl6pPr marL="432000" indent="-108000" algn="l" defTabSz="685800" rtl="0" eaLnBrk="1" latinLnBrk="0" hangingPunct="1">
              <a:spcBef>
                <a:spcPts val="0"/>
              </a:spcBef>
              <a:spcAft>
                <a:spcPts val="0"/>
              </a:spcAft>
              <a:buSzPct val="100000"/>
              <a:buFont typeface="Arial" panose="020B0604020202020204" pitchFamily="34" charset="0"/>
              <a:buChar char="•"/>
              <a:defRPr sz="1200" kern="1200">
                <a:solidFill>
                  <a:schemeClr val="tx1"/>
                </a:solidFill>
                <a:latin typeface="Lato Light" panose="020F0302020204030203" pitchFamily="34" charset="0"/>
                <a:ea typeface="+mn-ea"/>
                <a:cs typeface="Arial" panose="020B0604020202020204" pitchFamily="34" charset="0"/>
              </a:defRPr>
            </a:lvl6pPr>
            <a:lvl7pPr marL="432000" indent="-108000" algn="l" defTabSz="685800" rtl="0" eaLnBrk="1" latinLnBrk="0" hangingPunct="1">
              <a:spcBef>
                <a:spcPts val="0"/>
              </a:spcBef>
              <a:spcAft>
                <a:spcPts val="0"/>
              </a:spcAft>
              <a:buSzPct val="100000"/>
              <a:buFont typeface="Arial" panose="020B0604020202020204" pitchFamily="34" charset="0"/>
              <a:buChar char="•"/>
              <a:defRPr sz="1200" kern="1200">
                <a:solidFill>
                  <a:schemeClr val="tx1"/>
                </a:solidFill>
                <a:latin typeface="Lato Light" panose="020F0302020204030203" pitchFamily="34" charset="0"/>
                <a:ea typeface="+mn-ea"/>
                <a:cs typeface="Arial" panose="020B0604020202020204" pitchFamily="34" charset="0"/>
              </a:defRPr>
            </a:lvl7pPr>
            <a:lvl8pPr marL="432000" indent="-108000" algn="l" defTabSz="685800" rtl="0" eaLnBrk="1" latinLnBrk="0" hangingPunct="1">
              <a:spcBef>
                <a:spcPts val="0"/>
              </a:spcBef>
              <a:spcAft>
                <a:spcPts val="0"/>
              </a:spcAft>
              <a:buSzPct val="100000"/>
              <a:buFont typeface="Arial" panose="020B0604020202020204" pitchFamily="34" charset="0"/>
              <a:buChar char="•"/>
              <a:defRPr sz="1200" kern="1200">
                <a:solidFill>
                  <a:schemeClr val="tx1"/>
                </a:solidFill>
                <a:latin typeface="Lato Light" panose="020F0302020204030203" pitchFamily="34" charset="0"/>
                <a:ea typeface="+mn-ea"/>
                <a:cs typeface="Arial" panose="020B0604020202020204" pitchFamily="34" charset="0"/>
              </a:defRPr>
            </a:lvl8pPr>
            <a:lvl9pPr marL="432000" indent="-108000" algn="l" defTabSz="685800" rtl="0" eaLnBrk="1" latinLnBrk="0" hangingPunct="1">
              <a:spcBef>
                <a:spcPts val="0"/>
              </a:spcBef>
              <a:spcAft>
                <a:spcPts val="0"/>
              </a:spcAft>
              <a:buSzPct val="100000"/>
              <a:buFont typeface="Arial" panose="020B0604020202020204" pitchFamily="34" charset="0"/>
              <a:buChar char="•"/>
              <a:defRPr sz="1200" kern="1200" baseline="0">
                <a:solidFill>
                  <a:schemeClr val="tx1"/>
                </a:solidFill>
                <a:latin typeface="Lato Light" panose="020F0302020204030203" pitchFamily="34" charset="0"/>
                <a:ea typeface="+mn-ea"/>
                <a:cs typeface="Arial" panose="020B0604020202020204" pitchFamily="34" charset="0"/>
              </a:defRPr>
            </a:lvl9pPr>
          </a:lstStyle>
          <a:p>
            <a:pPr>
              <a:spcBef>
                <a:spcPct val="0"/>
              </a:spcBef>
              <a:spcAft>
                <a:spcPct val="0"/>
              </a:spcAft>
            </a:pPr>
            <a:r>
              <a:rPr lang="de-DE" sz="1000" dirty="0"/>
              <a:t>Robert Mayer</a:t>
            </a:r>
            <a:endParaRPr lang="de-DE" sz="1000" noProof="0" dirty="0">
              <a:latin typeface="+mn-lt"/>
              <a:cs typeface="+mn-cs"/>
              <a:sym typeface="+mn-lt"/>
            </a:endParaRPr>
          </a:p>
        </p:txBody>
      </p:sp>
      <p:sp>
        <p:nvSpPr>
          <p:cNvPr id="83" name="Textplatzhalter 2">
            <a:extLst>
              <a:ext uri="{FF2B5EF4-FFF2-40B4-BE49-F238E27FC236}">
                <a16:creationId xmlns:a16="http://schemas.microsoft.com/office/drawing/2014/main" id="{EB60E1BF-D8EB-45FF-A53C-7D344A5CA67A}"/>
              </a:ext>
            </a:extLst>
          </p:cNvPr>
          <p:cNvSpPr>
            <a:spLocks noGrp="1"/>
          </p:cNvSpPr>
          <p:nvPr>
            <p:custDataLst>
              <p:tags r:id="rId64"/>
            </p:custDataLst>
          </p:nvPr>
        </p:nvSpPr>
        <p:spPr bwMode="gray">
          <a:xfrm>
            <a:off x="385763" y="5251450"/>
            <a:ext cx="688975"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0"/>
              </a:spcBef>
              <a:spcAft>
                <a:spcPts val="0"/>
              </a:spcAft>
              <a:buFont typeface="Arial" pitchFamily="34" charset="0"/>
              <a:buNone/>
              <a:defRPr sz="1600" kern="1200">
                <a:solidFill>
                  <a:schemeClr val="tx1"/>
                </a:solidFill>
                <a:latin typeface="+mn-lt"/>
                <a:ea typeface="+mn-ea"/>
                <a:cs typeface="+mn-cs"/>
              </a:defRPr>
            </a:lvl1pPr>
            <a:lvl2pPr marL="144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2pPr>
            <a:lvl3pPr marL="288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3pPr>
            <a:lvl4pPr marL="432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4pPr>
            <a:lvl5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5pPr>
            <a:lvl6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6pPr>
            <a:lvl7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7pPr>
            <a:lvl8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8pPr>
            <a:lvl9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Tx/>
              <a:buFont typeface="Arial" pitchFamily="34" charset="0"/>
              <a:buNone/>
              <a:tabLst/>
              <a:defRPr/>
            </a:pPr>
            <a:r>
              <a:rPr kumimoji="0" lang="de-DE" altLang="en-US" sz="1000" b="0" i="0" u="none" strike="noStrike" kern="1200" cap="none" spc="0" normalizeH="0" baseline="0" dirty="0">
                <a:ln>
                  <a:noFill/>
                </a:ln>
                <a:solidFill>
                  <a:prstClr val="black"/>
                </a:solidFill>
                <a:effectLst/>
                <a:uLnTx/>
                <a:uFillTx/>
                <a:sym typeface="+mn-lt"/>
              </a:rPr>
              <a:t>Steuerkreise</a:t>
            </a:r>
          </a:p>
        </p:txBody>
      </p:sp>
      <p:sp>
        <p:nvSpPr>
          <p:cNvPr id="105" name="Textplatzhalter 2">
            <a:extLst>
              <a:ext uri="{FF2B5EF4-FFF2-40B4-BE49-F238E27FC236}">
                <a16:creationId xmlns:a16="http://schemas.microsoft.com/office/drawing/2014/main" id="{1EBF8D37-349A-44E3-BFF2-EA13F5DD8620}"/>
              </a:ext>
            </a:extLst>
          </p:cNvPr>
          <p:cNvSpPr>
            <a:spLocks noGrp="1"/>
          </p:cNvSpPr>
          <p:nvPr>
            <p:custDataLst>
              <p:tags r:id="rId65"/>
            </p:custDataLst>
          </p:nvPr>
        </p:nvSpPr>
        <p:spPr bwMode="auto">
          <a:xfrm>
            <a:off x="5295900" y="5402263"/>
            <a:ext cx="342900" cy="152400"/>
          </a:xfrm>
          <a:prstGeom prst="rect">
            <a:avLst/>
          </a:prstGeom>
          <a:solidFill>
            <a:schemeClr val="bg2"/>
          </a:solidFill>
          <a:ln>
            <a:noFill/>
          </a:ln>
        </p:spPr>
        <p:txBody>
          <a:bodyPr vert="horz" wrap="none" lIns="0" tIns="0" rIns="0" bIns="0" numCol="1" spcCol="0" rtlCol="0" anchor="t" anchorCtr="0">
            <a:noAutofit/>
          </a:bodyPr>
          <a:lstStyle>
            <a:lvl1pPr marL="0" indent="0" algn="l" defTabSz="685800" rtl="0" eaLnBrk="1" latinLnBrk="0" hangingPunct="1">
              <a:spcBef>
                <a:spcPts val="0"/>
              </a:spcBef>
              <a:spcAft>
                <a:spcPts val="0"/>
              </a:spcAft>
              <a:buFont typeface="Arial" pitchFamily="34" charset="0"/>
              <a:buNone/>
              <a:defRPr sz="1200" kern="1200">
                <a:solidFill>
                  <a:schemeClr val="tx1"/>
                </a:solidFill>
                <a:latin typeface="Lato Light" panose="020F0302020204030203" pitchFamily="34" charset="0"/>
                <a:ea typeface="+mn-ea"/>
                <a:cs typeface="Arial" panose="020B0604020202020204" pitchFamily="34" charset="0"/>
              </a:defRPr>
            </a:lvl1pPr>
            <a:lvl2pPr marL="108000" indent="-108000" algn="l" defTabSz="685800" rtl="0" eaLnBrk="1" latinLnBrk="0" hangingPunct="1">
              <a:spcBef>
                <a:spcPts val="0"/>
              </a:spcBef>
              <a:spcAft>
                <a:spcPts val="0"/>
              </a:spcAft>
              <a:buFont typeface="Arial" panose="020B0604020202020204" pitchFamily="34" charset="0"/>
              <a:buChar char="•"/>
              <a:defRPr sz="1200" kern="1200">
                <a:solidFill>
                  <a:schemeClr val="tx1"/>
                </a:solidFill>
                <a:latin typeface="Lato Light" panose="020F0302020204030203" pitchFamily="34" charset="0"/>
                <a:ea typeface="+mn-ea"/>
                <a:cs typeface="Arial" panose="020B0604020202020204" pitchFamily="34" charset="0"/>
              </a:defRPr>
            </a:lvl2pPr>
            <a:lvl3pPr marL="216000" indent="-108000" algn="l" defTabSz="685800" rtl="0" eaLnBrk="1" latinLnBrk="0" hangingPunct="1">
              <a:spcBef>
                <a:spcPts val="0"/>
              </a:spcBef>
              <a:spcAft>
                <a:spcPts val="0"/>
              </a:spcAft>
              <a:buFont typeface="Arial" panose="020B0604020202020204" pitchFamily="34" charset="0"/>
              <a:buChar char="•"/>
              <a:defRPr sz="1200" kern="1200">
                <a:solidFill>
                  <a:schemeClr val="tx1"/>
                </a:solidFill>
                <a:latin typeface="Lato Light" panose="020F0302020204030203" pitchFamily="34" charset="0"/>
                <a:ea typeface="+mn-ea"/>
                <a:cs typeface="Arial" panose="020B0604020202020204" pitchFamily="34" charset="0"/>
              </a:defRPr>
            </a:lvl3pPr>
            <a:lvl4pPr marL="324000" indent="-108000" algn="l" defTabSz="685800" rtl="0" eaLnBrk="1" latinLnBrk="0" hangingPunct="1">
              <a:spcBef>
                <a:spcPts val="0"/>
              </a:spcBef>
              <a:spcAft>
                <a:spcPts val="0"/>
              </a:spcAft>
              <a:buSzPct val="100000"/>
              <a:buFont typeface="Arial" panose="020B0604020202020204" pitchFamily="34" charset="0"/>
              <a:buChar char="•"/>
              <a:defRPr sz="1200" kern="1200">
                <a:solidFill>
                  <a:schemeClr val="tx1"/>
                </a:solidFill>
                <a:latin typeface="Lato Light" panose="020F0302020204030203" pitchFamily="34" charset="0"/>
                <a:ea typeface="+mn-ea"/>
                <a:cs typeface="Arial" panose="020B0604020202020204" pitchFamily="34" charset="0"/>
              </a:defRPr>
            </a:lvl4pPr>
            <a:lvl5pPr marL="432000" indent="-108000" algn="l" defTabSz="685800" rtl="0" eaLnBrk="1" latinLnBrk="0" hangingPunct="1">
              <a:spcBef>
                <a:spcPts val="0"/>
              </a:spcBef>
              <a:spcAft>
                <a:spcPts val="0"/>
              </a:spcAft>
              <a:buSzPct val="100000"/>
              <a:buFont typeface="Arial" panose="020B0604020202020204" pitchFamily="34" charset="0"/>
              <a:buChar char="•"/>
              <a:defRPr sz="1200" kern="1200">
                <a:solidFill>
                  <a:schemeClr val="tx1"/>
                </a:solidFill>
                <a:latin typeface="Lato Light" panose="020F0302020204030203" pitchFamily="34" charset="0"/>
                <a:ea typeface="+mn-ea"/>
                <a:cs typeface="Arial" panose="020B0604020202020204" pitchFamily="34" charset="0"/>
              </a:defRPr>
            </a:lvl5pPr>
            <a:lvl6pPr marL="432000" indent="-108000" algn="l" defTabSz="685800" rtl="0" eaLnBrk="1" latinLnBrk="0" hangingPunct="1">
              <a:spcBef>
                <a:spcPts val="0"/>
              </a:spcBef>
              <a:spcAft>
                <a:spcPts val="0"/>
              </a:spcAft>
              <a:buSzPct val="100000"/>
              <a:buFont typeface="Arial" panose="020B0604020202020204" pitchFamily="34" charset="0"/>
              <a:buChar char="•"/>
              <a:defRPr sz="1200" kern="1200">
                <a:solidFill>
                  <a:schemeClr val="tx1"/>
                </a:solidFill>
                <a:latin typeface="Lato Light" panose="020F0302020204030203" pitchFamily="34" charset="0"/>
                <a:ea typeface="+mn-ea"/>
                <a:cs typeface="Arial" panose="020B0604020202020204" pitchFamily="34" charset="0"/>
              </a:defRPr>
            </a:lvl6pPr>
            <a:lvl7pPr marL="432000" indent="-108000" algn="l" defTabSz="685800" rtl="0" eaLnBrk="1" latinLnBrk="0" hangingPunct="1">
              <a:spcBef>
                <a:spcPts val="0"/>
              </a:spcBef>
              <a:spcAft>
                <a:spcPts val="0"/>
              </a:spcAft>
              <a:buSzPct val="100000"/>
              <a:buFont typeface="Arial" panose="020B0604020202020204" pitchFamily="34" charset="0"/>
              <a:buChar char="•"/>
              <a:defRPr sz="1200" kern="1200">
                <a:solidFill>
                  <a:schemeClr val="tx1"/>
                </a:solidFill>
                <a:latin typeface="Lato Light" panose="020F0302020204030203" pitchFamily="34" charset="0"/>
                <a:ea typeface="+mn-ea"/>
                <a:cs typeface="Arial" panose="020B0604020202020204" pitchFamily="34" charset="0"/>
              </a:defRPr>
            </a:lvl7pPr>
            <a:lvl8pPr marL="432000" indent="-108000" algn="l" defTabSz="685800" rtl="0" eaLnBrk="1" latinLnBrk="0" hangingPunct="1">
              <a:spcBef>
                <a:spcPts val="0"/>
              </a:spcBef>
              <a:spcAft>
                <a:spcPts val="0"/>
              </a:spcAft>
              <a:buSzPct val="100000"/>
              <a:buFont typeface="Arial" panose="020B0604020202020204" pitchFamily="34" charset="0"/>
              <a:buChar char="•"/>
              <a:defRPr sz="1200" kern="1200">
                <a:solidFill>
                  <a:schemeClr val="tx1"/>
                </a:solidFill>
                <a:latin typeface="Lato Light" panose="020F0302020204030203" pitchFamily="34" charset="0"/>
                <a:ea typeface="+mn-ea"/>
                <a:cs typeface="Arial" panose="020B0604020202020204" pitchFamily="34" charset="0"/>
              </a:defRPr>
            </a:lvl8pPr>
            <a:lvl9pPr marL="432000" indent="-108000" algn="l" defTabSz="685800" rtl="0" eaLnBrk="1" latinLnBrk="0" hangingPunct="1">
              <a:spcBef>
                <a:spcPts val="0"/>
              </a:spcBef>
              <a:spcAft>
                <a:spcPts val="0"/>
              </a:spcAft>
              <a:buSzPct val="100000"/>
              <a:buFont typeface="Arial" panose="020B0604020202020204" pitchFamily="34" charset="0"/>
              <a:buChar char="•"/>
              <a:defRPr sz="1200" kern="1200" baseline="0">
                <a:solidFill>
                  <a:schemeClr val="tx1"/>
                </a:solidFill>
                <a:latin typeface="Lato Light" panose="020F0302020204030203" pitchFamily="34" charset="0"/>
                <a:ea typeface="+mn-ea"/>
                <a:cs typeface="Arial" panose="020B0604020202020204" pitchFamily="34" charset="0"/>
              </a:defRPr>
            </a:lvl9pPr>
          </a:lstStyle>
          <a:p>
            <a:pPr>
              <a:spcBef>
                <a:spcPct val="0"/>
              </a:spcBef>
              <a:spcAft>
                <a:spcPct val="0"/>
              </a:spcAft>
            </a:pPr>
            <a:fld id="{AD173A09-757D-4768-8642-1EFE1FF297BB}" type="datetime'0''''''''''''9''''.0''''''''''8''''''.'''''''''''">
              <a:rPr lang="de-DE" altLang="en-US" sz="1000" smtClean="0">
                <a:effectLst/>
                <a:cs typeface="+mn-cs"/>
              </a:rPr>
              <a:pPr/>
              <a:t>09.08.</a:t>
            </a:fld>
            <a:endParaRPr lang="de-DE" sz="1000" noProof="0" dirty="0">
              <a:latin typeface="+mn-lt"/>
              <a:cs typeface="+mn-cs"/>
              <a:sym typeface="+mn-lt"/>
            </a:endParaRPr>
          </a:p>
        </p:txBody>
      </p:sp>
      <p:sp useBgFill="1">
        <p:nvSpPr>
          <p:cNvPr id="96" name="Textplatzhalter 2">
            <a:extLst>
              <a:ext uri="{FF2B5EF4-FFF2-40B4-BE49-F238E27FC236}">
                <a16:creationId xmlns:a16="http://schemas.microsoft.com/office/drawing/2014/main" id="{DFD53D12-314A-47CF-9EF8-295E790E5012}"/>
              </a:ext>
            </a:extLst>
          </p:cNvPr>
          <p:cNvSpPr>
            <a:spLocks noGrp="1"/>
          </p:cNvSpPr>
          <p:nvPr>
            <p:custDataLst>
              <p:tags r:id="rId66"/>
            </p:custDataLst>
          </p:nvPr>
        </p:nvSpPr>
        <p:spPr bwMode="auto">
          <a:xfrm>
            <a:off x="7675563" y="5402263"/>
            <a:ext cx="342900" cy="152400"/>
          </a:xfrm>
          <a:prstGeom prst="rect">
            <a:avLst/>
          </a:prstGeom>
          <a:ln>
            <a:noFill/>
          </a:ln>
        </p:spPr>
        <p:txBody>
          <a:bodyPr vert="horz" wrap="none" lIns="0" tIns="0" rIns="0" bIns="0" numCol="1" spcCol="0" rtlCol="0" anchor="t" anchorCtr="0">
            <a:noAutofit/>
          </a:bodyPr>
          <a:lstStyle>
            <a:lvl1pPr marL="0" indent="0" algn="l" defTabSz="685800" rtl="0" eaLnBrk="1" latinLnBrk="0" hangingPunct="1">
              <a:spcBef>
                <a:spcPts val="0"/>
              </a:spcBef>
              <a:spcAft>
                <a:spcPts val="0"/>
              </a:spcAft>
              <a:buFont typeface="Arial" pitchFamily="34" charset="0"/>
              <a:buNone/>
              <a:defRPr sz="1200" kern="1200">
                <a:solidFill>
                  <a:schemeClr val="tx1"/>
                </a:solidFill>
                <a:latin typeface="Lato Light" panose="020F0302020204030203" pitchFamily="34" charset="0"/>
                <a:ea typeface="+mn-ea"/>
                <a:cs typeface="Arial" panose="020B0604020202020204" pitchFamily="34" charset="0"/>
              </a:defRPr>
            </a:lvl1pPr>
            <a:lvl2pPr marL="108000" indent="-108000" algn="l" defTabSz="685800" rtl="0" eaLnBrk="1" latinLnBrk="0" hangingPunct="1">
              <a:spcBef>
                <a:spcPts val="0"/>
              </a:spcBef>
              <a:spcAft>
                <a:spcPts val="0"/>
              </a:spcAft>
              <a:buFont typeface="Arial" panose="020B0604020202020204" pitchFamily="34" charset="0"/>
              <a:buChar char="•"/>
              <a:defRPr sz="1200" kern="1200">
                <a:solidFill>
                  <a:schemeClr val="tx1"/>
                </a:solidFill>
                <a:latin typeface="Lato Light" panose="020F0302020204030203" pitchFamily="34" charset="0"/>
                <a:ea typeface="+mn-ea"/>
                <a:cs typeface="Arial" panose="020B0604020202020204" pitchFamily="34" charset="0"/>
              </a:defRPr>
            </a:lvl2pPr>
            <a:lvl3pPr marL="216000" indent="-108000" algn="l" defTabSz="685800" rtl="0" eaLnBrk="1" latinLnBrk="0" hangingPunct="1">
              <a:spcBef>
                <a:spcPts val="0"/>
              </a:spcBef>
              <a:spcAft>
                <a:spcPts val="0"/>
              </a:spcAft>
              <a:buFont typeface="Arial" panose="020B0604020202020204" pitchFamily="34" charset="0"/>
              <a:buChar char="•"/>
              <a:defRPr sz="1200" kern="1200">
                <a:solidFill>
                  <a:schemeClr val="tx1"/>
                </a:solidFill>
                <a:latin typeface="Lato Light" panose="020F0302020204030203" pitchFamily="34" charset="0"/>
                <a:ea typeface="+mn-ea"/>
                <a:cs typeface="Arial" panose="020B0604020202020204" pitchFamily="34" charset="0"/>
              </a:defRPr>
            </a:lvl3pPr>
            <a:lvl4pPr marL="324000" indent="-108000" algn="l" defTabSz="685800" rtl="0" eaLnBrk="1" latinLnBrk="0" hangingPunct="1">
              <a:spcBef>
                <a:spcPts val="0"/>
              </a:spcBef>
              <a:spcAft>
                <a:spcPts val="0"/>
              </a:spcAft>
              <a:buSzPct val="100000"/>
              <a:buFont typeface="Arial" panose="020B0604020202020204" pitchFamily="34" charset="0"/>
              <a:buChar char="•"/>
              <a:defRPr sz="1200" kern="1200">
                <a:solidFill>
                  <a:schemeClr val="tx1"/>
                </a:solidFill>
                <a:latin typeface="Lato Light" panose="020F0302020204030203" pitchFamily="34" charset="0"/>
                <a:ea typeface="+mn-ea"/>
                <a:cs typeface="Arial" panose="020B0604020202020204" pitchFamily="34" charset="0"/>
              </a:defRPr>
            </a:lvl4pPr>
            <a:lvl5pPr marL="432000" indent="-108000" algn="l" defTabSz="685800" rtl="0" eaLnBrk="1" latinLnBrk="0" hangingPunct="1">
              <a:spcBef>
                <a:spcPts val="0"/>
              </a:spcBef>
              <a:spcAft>
                <a:spcPts val="0"/>
              </a:spcAft>
              <a:buSzPct val="100000"/>
              <a:buFont typeface="Arial" panose="020B0604020202020204" pitchFamily="34" charset="0"/>
              <a:buChar char="•"/>
              <a:defRPr sz="1200" kern="1200">
                <a:solidFill>
                  <a:schemeClr val="tx1"/>
                </a:solidFill>
                <a:latin typeface="Lato Light" panose="020F0302020204030203" pitchFamily="34" charset="0"/>
                <a:ea typeface="+mn-ea"/>
                <a:cs typeface="Arial" panose="020B0604020202020204" pitchFamily="34" charset="0"/>
              </a:defRPr>
            </a:lvl5pPr>
            <a:lvl6pPr marL="432000" indent="-108000" algn="l" defTabSz="685800" rtl="0" eaLnBrk="1" latinLnBrk="0" hangingPunct="1">
              <a:spcBef>
                <a:spcPts val="0"/>
              </a:spcBef>
              <a:spcAft>
                <a:spcPts val="0"/>
              </a:spcAft>
              <a:buSzPct val="100000"/>
              <a:buFont typeface="Arial" panose="020B0604020202020204" pitchFamily="34" charset="0"/>
              <a:buChar char="•"/>
              <a:defRPr sz="1200" kern="1200">
                <a:solidFill>
                  <a:schemeClr val="tx1"/>
                </a:solidFill>
                <a:latin typeface="Lato Light" panose="020F0302020204030203" pitchFamily="34" charset="0"/>
                <a:ea typeface="+mn-ea"/>
                <a:cs typeface="Arial" panose="020B0604020202020204" pitchFamily="34" charset="0"/>
              </a:defRPr>
            </a:lvl6pPr>
            <a:lvl7pPr marL="432000" indent="-108000" algn="l" defTabSz="685800" rtl="0" eaLnBrk="1" latinLnBrk="0" hangingPunct="1">
              <a:spcBef>
                <a:spcPts val="0"/>
              </a:spcBef>
              <a:spcAft>
                <a:spcPts val="0"/>
              </a:spcAft>
              <a:buSzPct val="100000"/>
              <a:buFont typeface="Arial" panose="020B0604020202020204" pitchFamily="34" charset="0"/>
              <a:buChar char="•"/>
              <a:defRPr sz="1200" kern="1200">
                <a:solidFill>
                  <a:schemeClr val="tx1"/>
                </a:solidFill>
                <a:latin typeface="Lato Light" panose="020F0302020204030203" pitchFamily="34" charset="0"/>
                <a:ea typeface="+mn-ea"/>
                <a:cs typeface="Arial" panose="020B0604020202020204" pitchFamily="34" charset="0"/>
              </a:defRPr>
            </a:lvl7pPr>
            <a:lvl8pPr marL="432000" indent="-108000" algn="l" defTabSz="685800" rtl="0" eaLnBrk="1" latinLnBrk="0" hangingPunct="1">
              <a:spcBef>
                <a:spcPts val="0"/>
              </a:spcBef>
              <a:spcAft>
                <a:spcPts val="0"/>
              </a:spcAft>
              <a:buSzPct val="100000"/>
              <a:buFont typeface="Arial" panose="020B0604020202020204" pitchFamily="34" charset="0"/>
              <a:buChar char="•"/>
              <a:defRPr sz="1200" kern="1200">
                <a:solidFill>
                  <a:schemeClr val="tx1"/>
                </a:solidFill>
                <a:latin typeface="Lato Light" panose="020F0302020204030203" pitchFamily="34" charset="0"/>
                <a:ea typeface="+mn-ea"/>
                <a:cs typeface="Arial" panose="020B0604020202020204" pitchFamily="34" charset="0"/>
              </a:defRPr>
            </a:lvl8pPr>
            <a:lvl9pPr marL="432000" indent="-108000" algn="l" defTabSz="685800" rtl="0" eaLnBrk="1" latinLnBrk="0" hangingPunct="1">
              <a:spcBef>
                <a:spcPts val="0"/>
              </a:spcBef>
              <a:spcAft>
                <a:spcPts val="0"/>
              </a:spcAft>
              <a:buSzPct val="100000"/>
              <a:buFont typeface="Arial" panose="020B0604020202020204" pitchFamily="34" charset="0"/>
              <a:buChar char="•"/>
              <a:defRPr sz="1200" kern="1200" baseline="0">
                <a:solidFill>
                  <a:schemeClr val="tx1"/>
                </a:solidFill>
                <a:latin typeface="Lato Light" panose="020F0302020204030203" pitchFamily="34" charset="0"/>
                <a:ea typeface="+mn-ea"/>
                <a:cs typeface="Arial" panose="020B0604020202020204" pitchFamily="34" charset="0"/>
              </a:defRPr>
            </a:lvl9pPr>
          </a:lstStyle>
          <a:p>
            <a:pPr>
              <a:spcBef>
                <a:spcPct val="0"/>
              </a:spcBef>
              <a:spcAft>
                <a:spcPct val="0"/>
              </a:spcAft>
            </a:pPr>
            <a:fld id="{2869F363-9482-423D-85D8-AD02FC8DC403}" type="datetime'''1''''3''''''''''''''.1''''''''''''''''''''''''''''0.'''">
              <a:rPr lang="de-DE" altLang="en-US" sz="1000" smtClean="0">
                <a:effectLst/>
                <a:cs typeface="+mn-cs"/>
              </a:rPr>
              <a:pPr/>
              <a:t>13.10.</a:t>
            </a:fld>
            <a:endParaRPr lang="de-DE" sz="1000" noProof="0" dirty="0">
              <a:latin typeface="+mn-lt"/>
              <a:cs typeface="+mn-cs"/>
              <a:sym typeface="+mn-lt"/>
            </a:endParaRPr>
          </a:p>
        </p:txBody>
      </p:sp>
      <p:sp useBgFill="1">
        <p:nvSpPr>
          <p:cNvPr id="110" name="Textplatzhalter 2">
            <a:extLst>
              <a:ext uri="{FF2B5EF4-FFF2-40B4-BE49-F238E27FC236}">
                <a16:creationId xmlns:a16="http://schemas.microsoft.com/office/drawing/2014/main" id="{1973DDBE-A92E-439E-86BC-3EBA4652597D}"/>
              </a:ext>
            </a:extLst>
          </p:cNvPr>
          <p:cNvSpPr>
            <a:spLocks noGrp="1"/>
          </p:cNvSpPr>
          <p:nvPr>
            <p:custDataLst>
              <p:tags r:id="rId67"/>
            </p:custDataLst>
          </p:nvPr>
        </p:nvSpPr>
        <p:spPr bwMode="auto">
          <a:xfrm>
            <a:off x="4757738" y="6040439"/>
            <a:ext cx="811213" cy="136525"/>
          </a:xfrm>
          <a:prstGeom prst="rect">
            <a:avLst/>
          </a:prstGeom>
          <a:ln>
            <a:noFill/>
          </a:ln>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de-DE" altLang="en-US" sz="1000" dirty="0">
                <a:effectLst/>
              </a:rPr>
              <a:t>Betriebsurlaub</a:t>
            </a:r>
            <a:endParaRPr lang="de-DE" sz="1000" dirty="0">
              <a:sym typeface="+mn-lt"/>
            </a:endParaRPr>
          </a:p>
        </p:txBody>
      </p:sp>
      <p:sp>
        <p:nvSpPr>
          <p:cNvPr id="93" name="Textplatzhalter 2">
            <a:extLst>
              <a:ext uri="{FF2B5EF4-FFF2-40B4-BE49-F238E27FC236}">
                <a16:creationId xmlns:a16="http://schemas.microsoft.com/office/drawing/2014/main" id="{CC3FB952-A098-4832-9939-DB5F72CD58E5}"/>
              </a:ext>
            </a:extLst>
          </p:cNvPr>
          <p:cNvSpPr>
            <a:spLocks noGrp="1"/>
          </p:cNvSpPr>
          <p:nvPr>
            <p:custDataLst>
              <p:tags r:id="rId68"/>
            </p:custDataLst>
          </p:nvPr>
        </p:nvSpPr>
        <p:spPr bwMode="auto">
          <a:xfrm>
            <a:off x="10785475" y="5251450"/>
            <a:ext cx="758825"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685800" rtl="0" eaLnBrk="1" latinLnBrk="0" hangingPunct="1">
              <a:spcBef>
                <a:spcPts val="0"/>
              </a:spcBef>
              <a:spcAft>
                <a:spcPts val="0"/>
              </a:spcAft>
              <a:buFont typeface="Arial" pitchFamily="34" charset="0"/>
              <a:buNone/>
              <a:defRPr sz="1200" kern="1200">
                <a:solidFill>
                  <a:schemeClr val="tx1"/>
                </a:solidFill>
                <a:latin typeface="Lato Light" panose="020F0302020204030203" pitchFamily="34" charset="0"/>
                <a:ea typeface="+mn-ea"/>
                <a:cs typeface="Arial" panose="020B0604020202020204" pitchFamily="34" charset="0"/>
              </a:defRPr>
            </a:lvl1pPr>
            <a:lvl2pPr marL="108000" indent="-108000" algn="l" defTabSz="685800" rtl="0" eaLnBrk="1" latinLnBrk="0" hangingPunct="1">
              <a:spcBef>
                <a:spcPts val="0"/>
              </a:spcBef>
              <a:spcAft>
                <a:spcPts val="0"/>
              </a:spcAft>
              <a:buFont typeface="Arial" panose="020B0604020202020204" pitchFamily="34" charset="0"/>
              <a:buChar char="•"/>
              <a:defRPr sz="1200" kern="1200">
                <a:solidFill>
                  <a:schemeClr val="tx1"/>
                </a:solidFill>
                <a:latin typeface="Lato Light" panose="020F0302020204030203" pitchFamily="34" charset="0"/>
                <a:ea typeface="+mn-ea"/>
                <a:cs typeface="Arial" panose="020B0604020202020204" pitchFamily="34" charset="0"/>
              </a:defRPr>
            </a:lvl2pPr>
            <a:lvl3pPr marL="216000" indent="-108000" algn="l" defTabSz="685800" rtl="0" eaLnBrk="1" latinLnBrk="0" hangingPunct="1">
              <a:spcBef>
                <a:spcPts val="0"/>
              </a:spcBef>
              <a:spcAft>
                <a:spcPts val="0"/>
              </a:spcAft>
              <a:buFont typeface="Arial" panose="020B0604020202020204" pitchFamily="34" charset="0"/>
              <a:buChar char="•"/>
              <a:defRPr sz="1200" kern="1200">
                <a:solidFill>
                  <a:schemeClr val="tx1"/>
                </a:solidFill>
                <a:latin typeface="Lato Light" panose="020F0302020204030203" pitchFamily="34" charset="0"/>
                <a:ea typeface="+mn-ea"/>
                <a:cs typeface="Arial" panose="020B0604020202020204" pitchFamily="34" charset="0"/>
              </a:defRPr>
            </a:lvl3pPr>
            <a:lvl4pPr marL="324000" indent="-108000" algn="l" defTabSz="685800" rtl="0" eaLnBrk="1" latinLnBrk="0" hangingPunct="1">
              <a:spcBef>
                <a:spcPts val="0"/>
              </a:spcBef>
              <a:spcAft>
                <a:spcPts val="0"/>
              </a:spcAft>
              <a:buSzPct val="100000"/>
              <a:buFont typeface="Arial" panose="020B0604020202020204" pitchFamily="34" charset="0"/>
              <a:buChar char="•"/>
              <a:defRPr sz="1200" kern="1200">
                <a:solidFill>
                  <a:schemeClr val="tx1"/>
                </a:solidFill>
                <a:latin typeface="Lato Light" panose="020F0302020204030203" pitchFamily="34" charset="0"/>
                <a:ea typeface="+mn-ea"/>
                <a:cs typeface="Arial" panose="020B0604020202020204" pitchFamily="34" charset="0"/>
              </a:defRPr>
            </a:lvl4pPr>
            <a:lvl5pPr marL="432000" indent="-108000" algn="l" defTabSz="685800" rtl="0" eaLnBrk="1" latinLnBrk="0" hangingPunct="1">
              <a:spcBef>
                <a:spcPts val="0"/>
              </a:spcBef>
              <a:spcAft>
                <a:spcPts val="0"/>
              </a:spcAft>
              <a:buSzPct val="100000"/>
              <a:buFont typeface="Arial" panose="020B0604020202020204" pitchFamily="34" charset="0"/>
              <a:buChar char="•"/>
              <a:defRPr sz="1200" kern="1200">
                <a:solidFill>
                  <a:schemeClr val="tx1"/>
                </a:solidFill>
                <a:latin typeface="Lato Light" panose="020F0302020204030203" pitchFamily="34" charset="0"/>
                <a:ea typeface="+mn-ea"/>
                <a:cs typeface="Arial" panose="020B0604020202020204" pitchFamily="34" charset="0"/>
              </a:defRPr>
            </a:lvl5pPr>
            <a:lvl6pPr marL="432000" indent="-108000" algn="l" defTabSz="685800" rtl="0" eaLnBrk="1" latinLnBrk="0" hangingPunct="1">
              <a:spcBef>
                <a:spcPts val="0"/>
              </a:spcBef>
              <a:spcAft>
                <a:spcPts val="0"/>
              </a:spcAft>
              <a:buSzPct val="100000"/>
              <a:buFont typeface="Arial" panose="020B0604020202020204" pitchFamily="34" charset="0"/>
              <a:buChar char="•"/>
              <a:defRPr sz="1200" kern="1200">
                <a:solidFill>
                  <a:schemeClr val="tx1"/>
                </a:solidFill>
                <a:latin typeface="Lato Light" panose="020F0302020204030203" pitchFamily="34" charset="0"/>
                <a:ea typeface="+mn-ea"/>
                <a:cs typeface="Arial" panose="020B0604020202020204" pitchFamily="34" charset="0"/>
              </a:defRPr>
            </a:lvl6pPr>
            <a:lvl7pPr marL="432000" indent="-108000" algn="l" defTabSz="685800" rtl="0" eaLnBrk="1" latinLnBrk="0" hangingPunct="1">
              <a:spcBef>
                <a:spcPts val="0"/>
              </a:spcBef>
              <a:spcAft>
                <a:spcPts val="0"/>
              </a:spcAft>
              <a:buSzPct val="100000"/>
              <a:buFont typeface="Arial" panose="020B0604020202020204" pitchFamily="34" charset="0"/>
              <a:buChar char="•"/>
              <a:defRPr sz="1200" kern="1200">
                <a:solidFill>
                  <a:schemeClr val="tx1"/>
                </a:solidFill>
                <a:latin typeface="Lato Light" panose="020F0302020204030203" pitchFamily="34" charset="0"/>
                <a:ea typeface="+mn-ea"/>
                <a:cs typeface="Arial" panose="020B0604020202020204" pitchFamily="34" charset="0"/>
              </a:defRPr>
            </a:lvl7pPr>
            <a:lvl8pPr marL="432000" indent="-108000" algn="l" defTabSz="685800" rtl="0" eaLnBrk="1" latinLnBrk="0" hangingPunct="1">
              <a:spcBef>
                <a:spcPts val="0"/>
              </a:spcBef>
              <a:spcAft>
                <a:spcPts val="0"/>
              </a:spcAft>
              <a:buSzPct val="100000"/>
              <a:buFont typeface="Arial" panose="020B0604020202020204" pitchFamily="34" charset="0"/>
              <a:buChar char="•"/>
              <a:defRPr sz="1200" kern="1200">
                <a:solidFill>
                  <a:schemeClr val="tx1"/>
                </a:solidFill>
                <a:latin typeface="Lato Light" panose="020F0302020204030203" pitchFamily="34" charset="0"/>
                <a:ea typeface="+mn-ea"/>
                <a:cs typeface="Arial" panose="020B0604020202020204" pitchFamily="34" charset="0"/>
              </a:defRPr>
            </a:lvl8pPr>
            <a:lvl9pPr marL="432000" indent="-108000" algn="l" defTabSz="685800" rtl="0" eaLnBrk="1" latinLnBrk="0" hangingPunct="1">
              <a:spcBef>
                <a:spcPts val="0"/>
              </a:spcBef>
              <a:spcAft>
                <a:spcPts val="0"/>
              </a:spcAft>
              <a:buSzPct val="100000"/>
              <a:buFont typeface="Arial" panose="020B0604020202020204" pitchFamily="34" charset="0"/>
              <a:buChar char="•"/>
              <a:defRPr sz="1200" kern="1200" baseline="0">
                <a:solidFill>
                  <a:schemeClr val="tx1"/>
                </a:solidFill>
                <a:latin typeface="Lato Light" panose="020F0302020204030203" pitchFamily="34" charset="0"/>
                <a:ea typeface="+mn-ea"/>
                <a:cs typeface="Arial" panose="020B0604020202020204" pitchFamily="34" charset="0"/>
              </a:defRPr>
            </a:lvl9pPr>
          </a:lstStyle>
          <a:p>
            <a:pPr>
              <a:spcBef>
                <a:spcPct val="0"/>
              </a:spcBef>
              <a:spcAft>
                <a:spcPct val="0"/>
              </a:spcAft>
            </a:pPr>
            <a:r>
              <a:rPr lang="de-DE" sz="1000" dirty="0"/>
              <a:t>Robert Mayer</a:t>
            </a:r>
            <a:endParaRPr lang="de-DE" sz="1000" noProof="0" dirty="0">
              <a:latin typeface="+mn-lt"/>
              <a:cs typeface="+mn-cs"/>
              <a:sym typeface="+mn-lt"/>
            </a:endParaRPr>
          </a:p>
        </p:txBody>
      </p:sp>
      <p:sp>
        <p:nvSpPr>
          <p:cNvPr id="107" name="Textplatzhalter 2">
            <a:extLst>
              <a:ext uri="{FF2B5EF4-FFF2-40B4-BE49-F238E27FC236}">
                <a16:creationId xmlns:a16="http://schemas.microsoft.com/office/drawing/2014/main" id="{E4BC1AEE-8EF2-4059-B47B-8CC712A24F93}"/>
              </a:ext>
            </a:extLst>
          </p:cNvPr>
          <p:cNvSpPr>
            <a:spLocks noGrp="1"/>
          </p:cNvSpPr>
          <p:nvPr>
            <p:custDataLst>
              <p:tags r:id="rId69"/>
            </p:custDataLst>
          </p:nvPr>
        </p:nvSpPr>
        <p:spPr bwMode="auto">
          <a:xfrm>
            <a:off x="10785475" y="5546725"/>
            <a:ext cx="1019175"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685800" rtl="0" eaLnBrk="1" latinLnBrk="0" hangingPunct="1">
              <a:spcBef>
                <a:spcPts val="0"/>
              </a:spcBef>
              <a:spcAft>
                <a:spcPts val="0"/>
              </a:spcAft>
              <a:buFont typeface="Arial" pitchFamily="34" charset="0"/>
              <a:buNone/>
              <a:defRPr sz="1200" kern="1200">
                <a:solidFill>
                  <a:schemeClr val="tx1"/>
                </a:solidFill>
                <a:latin typeface="Lato Light" panose="020F0302020204030203" pitchFamily="34" charset="0"/>
                <a:ea typeface="+mn-ea"/>
                <a:cs typeface="Arial" panose="020B0604020202020204" pitchFamily="34" charset="0"/>
              </a:defRPr>
            </a:lvl1pPr>
            <a:lvl2pPr marL="108000" indent="-108000" algn="l" defTabSz="685800" rtl="0" eaLnBrk="1" latinLnBrk="0" hangingPunct="1">
              <a:spcBef>
                <a:spcPts val="0"/>
              </a:spcBef>
              <a:spcAft>
                <a:spcPts val="0"/>
              </a:spcAft>
              <a:buFont typeface="Arial" panose="020B0604020202020204" pitchFamily="34" charset="0"/>
              <a:buChar char="•"/>
              <a:defRPr sz="1200" kern="1200">
                <a:solidFill>
                  <a:schemeClr val="tx1"/>
                </a:solidFill>
                <a:latin typeface="Lato Light" panose="020F0302020204030203" pitchFamily="34" charset="0"/>
                <a:ea typeface="+mn-ea"/>
                <a:cs typeface="Arial" panose="020B0604020202020204" pitchFamily="34" charset="0"/>
              </a:defRPr>
            </a:lvl2pPr>
            <a:lvl3pPr marL="216000" indent="-108000" algn="l" defTabSz="685800" rtl="0" eaLnBrk="1" latinLnBrk="0" hangingPunct="1">
              <a:spcBef>
                <a:spcPts val="0"/>
              </a:spcBef>
              <a:spcAft>
                <a:spcPts val="0"/>
              </a:spcAft>
              <a:buFont typeface="Arial" panose="020B0604020202020204" pitchFamily="34" charset="0"/>
              <a:buChar char="•"/>
              <a:defRPr sz="1200" kern="1200">
                <a:solidFill>
                  <a:schemeClr val="tx1"/>
                </a:solidFill>
                <a:latin typeface="Lato Light" panose="020F0302020204030203" pitchFamily="34" charset="0"/>
                <a:ea typeface="+mn-ea"/>
                <a:cs typeface="Arial" panose="020B0604020202020204" pitchFamily="34" charset="0"/>
              </a:defRPr>
            </a:lvl3pPr>
            <a:lvl4pPr marL="324000" indent="-108000" algn="l" defTabSz="685800" rtl="0" eaLnBrk="1" latinLnBrk="0" hangingPunct="1">
              <a:spcBef>
                <a:spcPts val="0"/>
              </a:spcBef>
              <a:spcAft>
                <a:spcPts val="0"/>
              </a:spcAft>
              <a:buSzPct val="100000"/>
              <a:buFont typeface="Arial" panose="020B0604020202020204" pitchFamily="34" charset="0"/>
              <a:buChar char="•"/>
              <a:defRPr sz="1200" kern="1200">
                <a:solidFill>
                  <a:schemeClr val="tx1"/>
                </a:solidFill>
                <a:latin typeface="Lato Light" panose="020F0302020204030203" pitchFamily="34" charset="0"/>
                <a:ea typeface="+mn-ea"/>
                <a:cs typeface="Arial" panose="020B0604020202020204" pitchFamily="34" charset="0"/>
              </a:defRPr>
            </a:lvl4pPr>
            <a:lvl5pPr marL="432000" indent="-108000" algn="l" defTabSz="685800" rtl="0" eaLnBrk="1" latinLnBrk="0" hangingPunct="1">
              <a:spcBef>
                <a:spcPts val="0"/>
              </a:spcBef>
              <a:spcAft>
                <a:spcPts val="0"/>
              </a:spcAft>
              <a:buSzPct val="100000"/>
              <a:buFont typeface="Arial" panose="020B0604020202020204" pitchFamily="34" charset="0"/>
              <a:buChar char="•"/>
              <a:defRPr sz="1200" kern="1200">
                <a:solidFill>
                  <a:schemeClr val="tx1"/>
                </a:solidFill>
                <a:latin typeface="Lato Light" panose="020F0302020204030203" pitchFamily="34" charset="0"/>
                <a:ea typeface="+mn-ea"/>
                <a:cs typeface="Arial" panose="020B0604020202020204" pitchFamily="34" charset="0"/>
              </a:defRPr>
            </a:lvl5pPr>
            <a:lvl6pPr marL="432000" indent="-108000" algn="l" defTabSz="685800" rtl="0" eaLnBrk="1" latinLnBrk="0" hangingPunct="1">
              <a:spcBef>
                <a:spcPts val="0"/>
              </a:spcBef>
              <a:spcAft>
                <a:spcPts val="0"/>
              </a:spcAft>
              <a:buSzPct val="100000"/>
              <a:buFont typeface="Arial" panose="020B0604020202020204" pitchFamily="34" charset="0"/>
              <a:buChar char="•"/>
              <a:defRPr sz="1200" kern="1200">
                <a:solidFill>
                  <a:schemeClr val="tx1"/>
                </a:solidFill>
                <a:latin typeface="Lato Light" panose="020F0302020204030203" pitchFamily="34" charset="0"/>
                <a:ea typeface="+mn-ea"/>
                <a:cs typeface="Arial" panose="020B0604020202020204" pitchFamily="34" charset="0"/>
              </a:defRPr>
            </a:lvl6pPr>
            <a:lvl7pPr marL="432000" indent="-108000" algn="l" defTabSz="685800" rtl="0" eaLnBrk="1" latinLnBrk="0" hangingPunct="1">
              <a:spcBef>
                <a:spcPts val="0"/>
              </a:spcBef>
              <a:spcAft>
                <a:spcPts val="0"/>
              </a:spcAft>
              <a:buSzPct val="100000"/>
              <a:buFont typeface="Arial" panose="020B0604020202020204" pitchFamily="34" charset="0"/>
              <a:buChar char="•"/>
              <a:defRPr sz="1200" kern="1200">
                <a:solidFill>
                  <a:schemeClr val="tx1"/>
                </a:solidFill>
                <a:latin typeface="Lato Light" panose="020F0302020204030203" pitchFamily="34" charset="0"/>
                <a:ea typeface="+mn-ea"/>
                <a:cs typeface="Arial" panose="020B0604020202020204" pitchFamily="34" charset="0"/>
              </a:defRPr>
            </a:lvl7pPr>
            <a:lvl8pPr marL="432000" indent="-108000" algn="l" defTabSz="685800" rtl="0" eaLnBrk="1" latinLnBrk="0" hangingPunct="1">
              <a:spcBef>
                <a:spcPts val="0"/>
              </a:spcBef>
              <a:spcAft>
                <a:spcPts val="0"/>
              </a:spcAft>
              <a:buSzPct val="100000"/>
              <a:buFont typeface="Arial" panose="020B0604020202020204" pitchFamily="34" charset="0"/>
              <a:buChar char="•"/>
              <a:defRPr sz="1200" kern="1200">
                <a:solidFill>
                  <a:schemeClr val="tx1"/>
                </a:solidFill>
                <a:latin typeface="Lato Light" panose="020F0302020204030203" pitchFamily="34" charset="0"/>
                <a:ea typeface="+mn-ea"/>
                <a:cs typeface="Arial" panose="020B0604020202020204" pitchFamily="34" charset="0"/>
              </a:defRPr>
            </a:lvl8pPr>
            <a:lvl9pPr marL="432000" indent="-108000" algn="l" defTabSz="685800" rtl="0" eaLnBrk="1" latinLnBrk="0" hangingPunct="1">
              <a:spcBef>
                <a:spcPts val="0"/>
              </a:spcBef>
              <a:spcAft>
                <a:spcPts val="0"/>
              </a:spcAft>
              <a:buSzPct val="100000"/>
              <a:buFont typeface="Arial" panose="020B0604020202020204" pitchFamily="34" charset="0"/>
              <a:buChar char="•"/>
              <a:defRPr sz="1200" kern="1200" baseline="0">
                <a:solidFill>
                  <a:schemeClr val="tx1"/>
                </a:solidFill>
                <a:latin typeface="Lato Light" panose="020F0302020204030203" pitchFamily="34" charset="0"/>
                <a:ea typeface="+mn-ea"/>
                <a:cs typeface="Arial" panose="020B0604020202020204" pitchFamily="34" charset="0"/>
              </a:defRPr>
            </a:lvl9pPr>
          </a:lstStyle>
          <a:p>
            <a:pPr>
              <a:spcBef>
                <a:spcPct val="0"/>
              </a:spcBef>
              <a:spcAft>
                <a:spcPct val="0"/>
              </a:spcAft>
            </a:pPr>
            <a:r>
              <a:rPr lang="de-DE" sz="1000" dirty="0">
                <a:solidFill>
                  <a:schemeClr val="tx1"/>
                </a:solidFill>
              </a:rPr>
              <a:t>Franziska Simoneit</a:t>
            </a:r>
            <a:endParaRPr lang="de-DE" sz="1000" noProof="0" dirty="0">
              <a:latin typeface="+mn-lt"/>
              <a:cs typeface="+mn-cs"/>
              <a:sym typeface="+mn-lt"/>
            </a:endParaRPr>
          </a:p>
        </p:txBody>
      </p:sp>
      <p:sp>
        <p:nvSpPr>
          <p:cNvPr id="81" name="Textplatzhalter 2">
            <a:extLst>
              <a:ext uri="{FF2B5EF4-FFF2-40B4-BE49-F238E27FC236}">
                <a16:creationId xmlns:a16="http://schemas.microsoft.com/office/drawing/2014/main" id="{9078165A-50A6-4C65-A6D6-14DA1F672A2D}"/>
              </a:ext>
            </a:extLst>
          </p:cNvPr>
          <p:cNvSpPr>
            <a:spLocks noGrp="1"/>
          </p:cNvSpPr>
          <p:nvPr>
            <p:custDataLst>
              <p:tags r:id="rId70"/>
            </p:custDataLst>
          </p:nvPr>
        </p:nvSpPr>
        <p:spPr bwMode="gray">
          <a:xfrm>
            <a:off x="385763" y="1452563"/>
            <a:ext cx="587375"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0"/>
              </a:spcBef>
              <a:spcAft>
                <a:spcPts val="0"/>
              </a:spcAft>
              <a:buFont typeface="Arial" pitchFamily="34" charset="0"/>
              <a:buNone/>
              <a:defRPr sz="1600" kern="1200">
                <a:solidFill>
                  <a:schemeClr val="tx1"/>
                </a:solidFill>
                <a:latin typeface="+mn-lt"/>
                <a:ea typeface="+mn-ea"/>
                <a:cs typeface="+mn-cs"/>
              </a:defRPr>
            </a:lvl1pPr>
            <a:lvl2pPr marL="144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2pPr>
            <a:lvl3pPr marL="288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3pPr>
            <a:lvl4pPr marL="432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4pPr>
            <a:lvl5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5pPr>
            <a:lvl6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6pPr>
            <a:lvl7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7pPr>
            <a:lvl8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8pPr>
            <a:lvl9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Tx/>
              <a:buFont typeface="Arial" pitchFamily="34" charset="0"/>
              <a:buNone/>
              <a:tabLst/>
              <a:defRPr/>
            </a:pPr>
            <a:r>
              <a:rPr kumimoji="0" lang="de-DE" altLang="en-US" sz="1000" b="1" i="0" u="none" strike="noStrike" kern="1200" cap="none" spc="0" normalizeH="0" baseline="0" dirty="0">
                <a:ln>
                  <a:noFill/>
                </a:ln>
                <a:solidFill>
                  <a:prstClr val="black"/>
                </a:solidFill>
                <a:effectLst/>
                <a:uLnTx/>
                <a:uFillTx/>
                <a:sym typeface="+mn-lt"/>
              </a:rPr>
              <a:t>Aktivitäten</a:t>
            </a:r>
            <a:endParaRPr kumimoji="0" lang="de-DE" sz="1000" b="1" i="0" u="none" strike="noStrike" kern="1200" cap="none" spc="0" normalizeH="0" baseline="0" dirty="0">
              <a:ln>
                <a:noFill/>
              </a:ln>
              <a:solidFill>
                <a:prstClr val="black"/>
              </a:solidFill>
              <a:effectLst/>
              <a:uLnTx/>
              <a:uFillTx/>
              <a:sym typeface="+mn-lt"/>
            </a:endParaRPr>
          </a:p>
        </p:txBody>
      </p:sp>
      <p:sp>
        <p:nvSpPr>
          <p:cNvPr id="89" name="Textplatzhalter 2">
            <a:extLst>
              <a:ext uri="{FF2B5EF4-FFF2-40B4-BE49-F238E27FC236}">
                <a16:creationId xmlns:a16="http://schemas.microsoft.com/office/drawing/2014/main" id="{366342D2-6994-412B-917B-249713A581BF}"/>
              </a:ext>
            </a:extLst>
          </p:cNvPr>
          <p:cNvSpPr>
            <a:spLocks noGrp="1"/>
          </p:cNvSpPr>
          <p:nvPr>
            <p:custDataLst>
              <p:tags r:id="rId71"/>
            </p:custDataLst>
          </p:nvPr>
        </p:nvSpPr>
        <p:spPr bwMode="auto">
          <a:xfrm>
            <a:off x="10785475" y="4165600"/>
            <a:ext cx="735013"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685800" rtl="0" eaLnBrk="1" latinLnBrk="0" hangingPunct="1">
              <a:spcBef>
                <a:spcPts val="0"/>
              </a:spcBef>
              <a:spcAft>
                <a:spcPts val="0"/>
              </a:spcAft>
              <a:buFont typeface="Arial" pitchFamily="34" charset="0"/>
              <a:buNone/>
              <a:defRPr sz="1200" kern="1200">
                <a:solidFill>
                  <a:schemeClr val="tx1"/>
                </a:solidFill>
                <a:latin typeface="Lato Light" panose="020F0302020204030203" pitchFamily="34" charset="0"/>
                <a:ea typeface="+mn-ea"/>
                <a:cs typeface="Arial" panose="020B0604020202020204" pitchFamily="34" charset="0"/>
              </a:defRPr>
            </a:lvl1pPr>
            <a:lvl2pPr marL="108000" indent="-108000" algn="l" defTabSz="685800" rtl="0" eaLnBrk="1" latinLnBrk="0" hangingPunct="1">
              <a:spcBef>
                <a:spcPts val="0"/>
              </a:spcBef>
              <a:spcAft>
                <a:spcPts val="0"/>
              </a:spcAft>
              <a:buFont typeface="Arial" panose="020B0604020202020204" pitchFamily="34" charset="0"/>
              <a:buChar char="•"/>
              <a:defRPr sz="1200" kern="1200">
                <a:solidFill>
                  <a:schemeClr val="tx1"/>
                </a:solidFill>
                <a:latin typeface="Lato Light" panose="020F0302020204030203" pitchFamily="34" charset="0"/>
                <a:ea typeface="+mn-ea"/>
                <a:cs typeface="Arial" panose="020B0604020202020204" pitchFamily="34" charset="0"/>
              </a:defRPr>
            </a:lvl2pPr>
            <a:lvl3pPr marL="216000" indent="-108000" algn="l" defTabSz="685800" rtl="0" eaLnBrk="1" latinLnBrk="0" hangingPunct="1">
              <a:spcBef>
                <a:spcPts val="0"/>
              </a:spcBef>
              <a:spcAft>
                <a:spcPts val="0"/>
              </a:spcAft>
              <a:buFont typeface="Arial" panose="020B0604020202020204" pitchFamily="34" charset="0"/>
              <a:buChar char="•"/>
              <a:defRPr sz="1200" kern="1200">
                <a:solidFill>
                  <a:schemeClr val="tx1"/>
                </a:solidFill>
                <a:latin typeface="Lato Light" panose="020F0302020204030203" pitchFamily="34" charset="0"/>
                <a:ea typeface="+mn-ea"/>
                <a:cs typeface="Arial" panose="020B0604020202020204" pitchFamily="34" charset="0"/>
              </a:defRPr>
            </a:lvl3pPr>
            <a:lvl4pPr marL="324000" indent="-108000" algn="l" defTabSz="685800" rtl="0" eaLnBrk="1" latinLnBrk="0" hangingPunct="1">
              <a:spcBef>
                <a:spcPts val="0"/>
              </a:spcBef>
              <a:spcAft>
                <a:spcPts val="0"/>
              </a:spcAft>
              <a:buSzPct val="100000"/>
              <a:buFont typeface="Arial" panose="020B0604020202020204" pitchFamily="34" charset="0"/>
              <a:buChar char="•"/>
              <a:defRPr sz="1200" kern="1200">
                <a:solidFill>
                  <a:schemeClr val="tx1"/>
                </a:solidFill>
                <a:latin typeface="Lato Light" panose="020F0302020204030203" pitchFamily="34" charset="0"/>
                <a:ea typeface="+mn-ea"/>
                <a:cs typeface="Arial" panose="020B0604020202020204" pitchFamily="34" charset="0"/>
              </a:defRPr>
            </a:lvl4pPr>
            <a:lvl5pPr marL="432000" indent="-108000" algn="l" defTabSz="685800" rtl="0" eaLnBrk="1" latinLnBrk="0" hangingPunct="1">
              <a:spcBef>
                <a:spcPts val="0"/>
              </a:spcBef>
              <a:spcAft>
                <a:spcPts val="0"/>
              </a:spcAft>
              <a:buSzPct val="100000"/>
              <a:buFont typeface="Arial" panose="020B0604020202020204" pitchFamily="34" charset="0"/>
              <a:buChar char="•"/>
              <a:defRPr sz="1200" kern="1200">
                <a:solidFill>
                  <a:schemeClr val="tx1"/>
                </a:solidFill>
                <a:latin typeface="Lato Light" panose="020F0302020204030203" pitchFamily="34" charset="0"/>
                <a:ea typeface="+mn-ea"/>
                <a:cs typeface="Arial" panose="020B0604020202020204" pitchFamily="34" charset="0"/>
              </a:defRPr>
            </a:lvl5pPr>
            <a:lvl6pPr marL="432000" indent="-108000" algn="l" defTabSz="685800" rtl="0" eaLnBrk="1" latinLnBrk="0" hangingPunct="1">
              <a:spcBef>
                <a:spcPts val="0"/>
              </a:spcBef>
              <a:spcAft>
                <a:spcPts val="0"/>
              </a:spcAft>
              <a:buSzPct val="100000"/>
              <a:buFont typeface="Arial" panose="020B0604020202020204" pitchFamily="34" charset="0"/>
              <a:buChar char="•"/>
              <a:defRPr sz="1200" kern="1200">
                <a:solidFill>
                  <a:schemeClr val="tx1"/>
                </a:solidFill>
                <a:latin typeface="Lato Light" panose="020F0302020204030203" pitchFamily="34" charset="0"/>
                <a:ea typeface="+mn-ea"/>
                <a:cs typeface="Arial" panose="020B0604020202020204" pitchFamily="34" charset="0"/>
              </a:defRPr>
            </a:lvl6pPr>
            <a:lvl7pPr marL="432000" indent="-108000" algn="l" defTabSz="685800" rtl="0" eaLnBrk="1" latinLnBrk="0" hangingPunct="1">
              <a:spcBef>
                <a:spcPts val="0"/>
              </a:spcBef>
              <a:spcAft>
                <a:spcPts val="0"/>
              </a:spcAft>
              <a:buSzPct val="100000"/>
              <a:buFont typeface="Arial" panose="020B0604020202020204" pitchFamily="34" charset="0"/>
              <a:buChar char="•"/>
              <a:defRPr sz="1200" kern="1200">
                <a:solidFill>
                  <a:schemeClr val="tx1"/>
                </a:solidFill>
                <a:latin typeface="Lato Light" panose="020F0302020204030203" pitchFamily="34" charset="0"/>
                <a:ea typeface="+mn-ea"/>
                <a:cs typeface="Arial" panose="020B0604020202020204" pitchFamily="34" charset="0"/>
              </a:defRPr>
            </a:lvl7pPr>
            <a:lvl8pPr marL="432000" indent="-108000" algn="l" defTabSz="685800" rtl="0" eaLnBrk="1" latinLnBrk="0" hangingPunct="1">
              <a:spcBef>
                <a:spcPts val="0"/>
              </a:spcBef>
              <a:spcAft>
                <a:spcPts val="0"/>
              </a:spcAft>
              <a:buSzPct val="100000"/>
              <a:buFont typeface="Arial" panose="020B0604020202020204" pitchFamily="34" charset="0"/>
              <a:buChar char="•"/>
              <a:defRPr sz="1200" kern="1200">
                <a:solidFill>
                  <a:schemeClr val="tx1"/>
                </a:solidFill>
                <a:latin typeface="Lato Light" panose="020F0302020204030203" pitchFamily="34" charset="0"/>
                <a:ea typeface="+mn-ea"/>
                <a:cs typeface="Arial" panose="020B0604020202020204" pitchFamily="34" charset="0"/>
              </a:defRPr>
            </a:lvl8pPr>
            <a:lvl9pPr marL="432000" indent="-108000" algn="l" defTabSz="685800" rtl="0" eaLnBrk="1" latinLnBrk="0" hangingPunct="1">
              <a:spcBef>
                <a:spcPts val="0"/>
              </a:spcBef>
              <a:spcAft>
                <a:spcPts val="0"/>
              </a:spcAft>
              <a:buSzPct val="100000"/>
              <a:buFont typeface="Arial" panose="020B0604020202020204" pitchFamily="34" charset="0"/>
              <a:buChar char="•"/>
              <a:defRPr sz="1200" kern="1200" baseline="0">
                <a:solidFill>
                  <a:schemeClr val="tx1"/>
                </a:solidFill>
                <a:latin typeface="Lato Light" panose="020F0302020204030203" pitchFamily="34" charset="0"/>
                <a:ea typeface="+mn-ea"/>
                <a:cs typeface="Arial" panose="020B0604020202020204" pitchFamily="34" charset="0"/>
              </a:defRPr>
            </a:lvl9pPr>
          </a:lstStyle>
          <a:p>
            <a:pPr>
              <a:spcBef>
                <a:spcPct val="0"/>
              </a:spcBef>
              <a:spcAft>
                <a:spcPct val="0"/>
              </a:spcAft>
            </a:pPr>
            <a:r>
              <a:rPr lang="de-DE" sz="1000" dirty="0">
                <a:solidFill>
                  <a:schemeClr val="tx1"/>
                </a:solidFill>
              </a:rPr>
              <a:t>Thomas Horn</a:t>
            </a:r>
            <a:endParaRPr lang="de-DE" sz="1000" noProof="0" dirty="0">
              <a:latin typeface="+mn-lt"/>
              <a:cs typeface="+mn-cs"/>
              <a:sym typeface="+mn-lt"/>
            </a:endParaRPr>
          </a:p>
        </p:txBody>
      </p:sp>
      <p:sp>
        <p:nvSpPr>
          <p:cNvPr id="104" name="Textplatzhalter 2">
            <a:extLst>
              <a:ext uri="{FF2B5EF4-FFF2-40B4-BE49-F238E27FC236}">
                <a16:creationId xmlns:a16="http://schemas.microsoft.com/office/drawing/2014/main" id="{75C45D6F-33C0-4027-BE89-BB29FE996F30}"/>
              </a:ext>
            </a:extLst>
          </p:cNvPr>
          <p:cNvSpPr>
            <a:spLocks noGrp="1"/>
          </p:cNvSpPr>
          <p:nvPr>
            <p:custDataLst>
              <p:tags r:id="rId72"/>
            </p:custDataLst>
          </p:nvPr>
        </p:nvSpPr>
        <p:spPr bwMode="gray">
          <a:xfrm>
            <a:off x="385763" y="3081338"/>
            <a:ext cx="1217613"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0"/>
              </a:spcBef>
              <a:spcAft>
                <a:spcPts val="0"/>
              </a:spcAft>
              <a:buFont typeface="Arial" pitchFamily="34" charset="0"/>
              <a:buNone/>
              <a:defRPr sz="1600" kern="1200">
                <a:solidFill>
                  <a:schemeClr val="tx1"/>
                </a:solidFill>
                <a:latin typeface="+mn-lt"/>
                <a:ea typeface="+mn-ea"/>
                <a:cs typeface="+mn-cs"/>
              </a:defRPr>
            </a:lvl1pPr>
            <a:lvl2pPr marL="144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2pPr>
            <a:lvl3pPr marL="288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3pPr>
            <a:lvl4pPr marL="432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4pPr>
            <a:lvl5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5pPr>
            <a:lvl6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6pPr>
            <a:lvl7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7pPr>
            <a:lvl8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8pPr>
            <a:lvl9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Tx/>
              <a:buFont typeface="Arial" pitchFamily="34" charset="0"/>
              <a:buNone/>
              <a:tabLst/>
              <a:defRPr/>
            </a:pPr>
            <a:r>
              <a:rPr kumimoji="0" lang="de-DE" altLang="en-US" sz="1000" b="0" i="0" u="none" strike="noStrike" kern="1200" cap="none" spc="0" normalizeH="0" baseline="0" dirty="0">
                <a:ln>
                  <a:noFill/>
                </a:ln>
                <a:solidFill>
                  <a:prstClr val="black"/>
                </a:solidFill>
                <a:effectLst/>
                <a:uLnTx/>
                <a:uFillTx/>
                <a:sym typeface="+mn-lt"/>
              </a:rPr>
              <a:t>Durchführung Analyse</a:t>
            </a:r>
          </a:p>
        </p:txBody>
      </p:sp>
      <p:sp useBgFill="1">
        <p:nvSpPr>
          <p:cNvPr id="77" name="Textplatzhalter 2">
            <a:extLst>
              <a:ext uri="{FF2B5EF4-FFF2-40B4-BE49-F238E27FC236}">
                <a16:creationId xmlns:a16="http://schemas.microsoft.com/office/drawing/2014/main" id="{C5F11C95-38CA-4F11-AAB5-33E5003CB9C5}"/>
              </a:ext>
            </a:extLst>
          </p:cNvPr>
          <p:cNvSpPr>
            <a:spLocks noGrp="1"/>
          </p:cNvSpPr>
          <p:nvPr>
            <p:custDataLst>
              <p:tags r:id="rId73"/>
            </p:custDataLst>
          </p:nvPr>
        </p:nvSpPr>
        <p:spPr bwMode="gray">
          <a:xfrm>
            <a:off x="9845675" y="6013450"/>
            <a:ext cx="665163" cy="152400"/>
          </a:xfrm>
          <a:prstGeom prst="rect">
            <a:avLst/>
          </a:prstGeom>
          <a:ln>
            <a:noFill/>
          </a:ln>
        </p:spPr>
        <p:txBody>
          <a:bodyPr vert="horz" wrap="none" lIns="0" tIns="0" rIns="0" bIns="0" numCol="1" spcCol="0" rtlCol="0" anchor="t" anchorCtr="0">
            <a:noAutofit/>
          </a:bodyPr>
          <a:lstStyle>
            <a:lvl1pPr marL="0" indent="0" algn="l" defTabSz="914400" rtl="0" eaLnBrk="1" latinLnBrk="0" hangingPunct="1">
              <a:spcBef>
                <a:spcPts val="0"/>
              </a:spcBef>
              <a:spcAft>
                <a:spcPts val="0"/>
              </a:spcAft>
              <a:buFont typeface="Arial" pitchFamily="34" charset="0"/>
              <a:buNone/>
              <a:defRPr sz="1600" kern="1200">
                <a:solidFill>
                  <a:schemeClr val="tx1"/>
                </a:solidFill>
                <a:latin typeface="+mn-lt"/>
                <a:ea typeface="+mn-ea"/>
                <a:cs typeface="+mn-cs"/>
              </a:defRPr>
            </a:lvl1pPr>
            <a:lvl2pPr marL="144000" indent="-144000" algn="l" defTabSz="914400" rtl="0" eaLnBrk="1" latinLnBrk="0" hangingPunct="1">
              <a:spcBef>
                <a:spcPts val="0"/>
              </a:spcBef>
              <a:spcAft>
                <a:spcPts val="0"/>
              </a:spcAft>
              <a:buClr>
                <a:schemeClr val="tx2"/>
              </a:buClr>
              <a:buFont typeface="Wingdings" panose="05000000000000000000" pitchFamily="2" charset="2"/>
              <a:buChar char="§"/>
              <a:defRPr sz="1600" kern="1200">
                <a:solidFill>
                  <a:schemeClr val="tx1"/>
                </a:solidFill>
                <a:latin typeface="+mn-lt"/>
                <a:ea typeface="+mn-ea"/>
                <a:cs typeface="+mn-cs"/>
              </a:defRPr>
            </a:lvl2pPr>
            <a:lvl3pPr marL="288000" indent="-144000" algn="l" defTabSz="914400" rtl="0" eaLnBrk="1" latinLnBrk="0" hangingPunct="1">
              <a:spcBef>
                <a:spcPts val="0"/>
              </a:spcBef>
              <a:spcAft>
                <a:spcPts val="0"/>
              </a:spcAft>
              <a:buFont typeface="Symbol" panose="05050102010706020507" pitchFamily="18" charset="2"/>
              <a:buChar char="-"/>
              <a:defRPr sz="1600" kern="1200">
                <a:solidFill>
                  <a:schemeClr val="tx1"/>
                </a:solidFill>
                <a:latin typeface="+mn-lt"/>
                <a:ea typeface="+mn-ea"/>
                <a:cs typeface="+mn-cs"/>
              </a:defRPr>
            </a:lvl3pPr>
            <a:lvl4pPr marL="432000" indent="-144000" algn="l" defTabSz="914400" rtl="0" eaLnBrk="1" latinLnBrk="0" hangingPunct="1">
              <a:spcBef>
                <a:spcPts val="0"/>
              </a:spcBef>
              <a:spcAft>
                <a:spcPts val="0"/>
              </a:spcAft>
              <a:buSzPct val="100000"/>
              <a:buFont typeface="Symbol" panose="05050102010706020507" pitchFamily="18" charset="2"/>
              <a:buChar char="-"/>
              <a:defRPr sz="1600" kern="1200">
                <a:solidFill>
                  <a:schemeClr val="tx1"/>
                </a:solidFill>
                <a:latin typeface="+mn-lt"/>
                <a:ea typeface="+mn-ea"/>
                <a:cs typeface="+mn-cs"/>
              </a:defRPr>
            </a:lvl4pPr>
            <a:lvl5pPr marL="576000" indent="-144000" algn="l" defTabSz="914400" rtl="0" eaLnBrk="1" latinLnBrk="0" hangingPunct="1">
              <a:spcBef>
                <a:spcPts val="0"/>
              </a:spcBef>
              <a:spcAft>
                <a:spcPts val="0"/>
              </a:spcAft>
              <a:buSzPct val="100000"/>
              <a:buFont typeface="Symbol" panose="05050102010706020507" pitchFamily="18" charset="2"/>
              <a:buChar char="-"/>
              <a:defRPr sz="1600" kern="1200">
                <a:solidFill>
                  <a:schemeClr val="tx1"/>
                </a:solidFill>
                <a:latin typeface="+mn-lt"/>
                <a:ea typeface="+mn-ea"/>
                <a:cs typeface="+mn-cs"/>
              </a:defRPr>
            </a:lvl5pPr>
            <a:lvl6pPr marL="576000" indent="-144000" algn="l" defTabSz="914400" rtl="0" eaLnBrk="1" latinLnBrk="0" hangingPunct="1">
              <a:spcBef>
                <a:spcPts val="0"/>
              </a:spcBef>
              <a:spcAft>
                <a:spcPts val="0"/>
              </a:spcAft>
              <a:buSzPct val="100000"/>
              <a:buFont typeface="Symbol" panose="05050102010706020507" pitchFamily="18" charset="2"/>
              <a:buChar char="-"/>
              <a:defRPr sz="1600" kern="1200">
                <a:solidFill>
                  <a:schemeClr val="tx1"/>
                </a:solidFill>
                <a:latin typeface="+mn-lt"/>
                <a:ea typeface="+mn-ea"/>
                <a:cs typeface="+mn-cs"/>
              </a:defRPr>
            </a:lvl6pPr>
            <a:lvl7pPr marL="576000" indent="-144000" algn="l" defTabSz="914400" rtl="0" eaLnBrk="1" latinLnBrk="0" hangingPunct="1">
              <a:spcBef>
                <a:spcPts val="0"/>
              </a:spcBef>
              <a:spcAft>
                <a:spcPts val="0"/>
              </a:spcAft>
              <a:buSzPct val="100000"/>
              <a:buFont typeface="Symbol" panose="05050102010706020507" pitchFamily="18" charset="2"/>
              <a:buChar char="-"/>
              <a:defRPr sz="1600" kern="1200">
                <a:solidFill>
                  <a:schemeClr val="tx1"/>
                </a:solidFill>
                <a:latin typeface="+mn-lt"/>
                <a:ea typeface="+mn-ea"/>
                <a:cs typeface="+mn-cs"/>
              </a:defRPr>
            </a:lvl7pPr>
            <a:lvl8pPr marL="576000" indent="-144000" algn="l" defTabSz="914400" rtl="0" eaLnBrk="1" latinLnBrk="0" hangingPunct="1">
              <a:spcBef>
                <a:spcPts val="0"/>
              </a:spcBef>
              <a:spcAft>
                <a:spcPts val="0"/>
              </a:spcAft>
              <a:buSzPct val="100000"/>
              <a:buFont typeface="Symbol" panose="05050102010706020507" pitchFamily="18" charset="2"/>
              <a:buChar char="-"/>
              <a:defRPr sz="1600" kern="1200">
                <a:solidFill>
                  <a:schemeClr val="tx1"/>
                </a:solidFill>
                <a:latin typeface="+mn-lt"/>
                <a:ea typeface="+mn-ea"/>
                <a:cs typeface="+mn-cs"/>
              </a:defRPr>
            </a:lvl8pPr>
            <a:lvl9pPr marL="576000" indent="-144000" algn="l" defTabSz="914400" rtl="0" eaLnBrk="1" latinLnBrk="0" hangingPunct="1">
              <a:spcBef>
                <a:spcPts val="0"/>
              </a:spcBef>
              <a:spcAft>
                <a:spcPts val="0"/>
              </a:spcAft>
              <a:buSzPct val="100000"/>
              <a:buFont typeface="Symbol" panose="05050102010706020507" pitchFamily="18" charset="2"/>
              <a:buChar char="-"/>
              <a:defRPr sz="1600" kern="1200" baseline="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Tx/>
              <a:buFont typeface="Arial" pitchFamily="34" charset="0"/>
              <a:buNone/>
              <a:tabLst/>
              <a:defRPr/>
            </a:pPr>
            <a:r>
              <a:rPr kumimoji="0" lang="de-DE" altLang="en-US" sz="1000" b="0" i="0" u="none" strike="noStrike" kern="1200" cap="none" spc="0" normalizeH="0" baseline="0" dirty="0">
                <a:ln>
                  <a:noFill/>
                </a:ln>
                <a:solidFill>
                  <a:prstClr val="black"/>
                </a:solidFill>
                <a:effectLst/>
                <a:uLnTx/>
                <a:uFillTx/>
                <a:sym typeface="+mn-lt"/>
              </a:rPr>
              <a:t>Projektende</a:t>
            </a:r>
            <a:endParaRPr kumimoji="0" lang="de-DE" sz="1000" b="0" i="0" u="none" strike="noStrike" kern="1200" cap="none" spc="0" normalizeH="0" baseline="0" dirty="0">
              <a:ln>
                <a:noFill/>
              </a:ln>
              <a:solidFill>
                <a:prstClr val="black"/>
              </a:solidFill>
              <a:effectLst/>
              <a:uLnTx/>
              <a:uFillTx/>
              <a:sym typeface="+mn-lt"/>
            </a:endParaRPr>
          </a:p>
        </p:txBody>
      </p:sp>
      <p:sp>
        <p:nvSpPr>
          <p:cNvPr id="94" name="Textplatzhalter 2">
            <a:extLst>
              <a:ext uri="{FF2B5EF4-FFF2-40B4-BE49-F238E27FC236}">
                <a16:creationId xmlns:a16="http://schemas.microsoft.com/office/drawing/2014/main" id="{A7F10E17-C9EF-4E0A-B84F-655BA3088603}"/>
              </a:ext>
            </a:extLst>
          </p:cNvPr>
          <p:cNvSpPr>
            <a:spLocks noGrp="1"/>
          </p:cNvSpPr>
          <p:nvPr>
            <p:custDataLst>
              <p:tags r:id="rId74"/>
            </p:custDataLst>
          </p:nvPr>
        </p:nvSpPr>
        <p:spPr bwMode="auto">
          <a:xfrm>
            <a:off x="10785475" y="1452563"/>
            <a:ext cx="801688"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685800" rtl="0" eaLnBrk="1" latinLnBrk="0" hangingPunct="1">
              <a:spcBef>
                <a:spcPts val="0"/>
              </a:spcBef>
              <a:spcAft>
                <a:spcPts val="0"/>
              </a:spcAft>
              <a:buFont typeface="Arial" pitchFamily="34" charset="0"/>
              <a:buNone/>
              <a:defRPr sz="1200" kern="1200">
                <a:solidFill>
                  <a:schemeClr val="tx1"/>
                </a:solidFill>
                <a:latin typeface="Lato Light" panose="020F0302020204030203" pitchFamily="34" charset="0"/>
                <a:ea typeface="+mn-ea"/>
                <a:cs typeface="Arial" panose="020B0604020202020204" pitchFamily="34" charset="0"/>
              </a:defRPr>
            </a:lvl1pPr>
            <a:lvl2pPr marL="108000" indent="-108000" algn="l" defTabSz="685800" rtl="0" eaLnBrk="1" latinLnBrk="0" hangingPunct="1">
              <a:spcBef>
                <a:spcPts val="0"/>
              </a:spcBef>
              <a:spcAft>
                <a:spcPts val="0"/>
              </a:spcAft>
              <a:buFont typeface="Arial" panose="020B0604020202020204" pitchFamily="34" charset="0"/>
              <a:buChar char="•"/>
              <a:defRPr sz="1200" kern="1200">
                <a:solidFill>
                  <a:schemeClr val="tx1"/>
                </a:solidFill>
                <a:latin typeface="Lato Light" panose="020F0302020204030203" pitchFamily="34" charset="0"/>
                <a:ea typeface="+mn-ea"/>
                <a:cs typeface="Arial" panose="020B0604020202020204" pitchFamily="34" charset="0"/>
              </a:defRPr>
            </a:lvl2pPr>
            <a:lvl3pPr marL="216000" indent="-108000" algn="l" defTabSz="685800" rtl="0" eaLnBrk="1" latinLnBrk="0" hangingPunct="1">
              <a:spcBef>
                <a:spcPts val="0"/>
              </a:spcBef>
              <a:spcAft>
                <a:spcPts val="0"/>
              </a:spcAft>
              <a:buFont typeface="Arial" panose="020B0604020202020204" pitchFamily="34" charset="0"/>
              <a:buChar char="•"/>
              <a:defRPr sz="1200" kern="1200">
                <a:solidFill>
                  <a:schemeClr val="tx1"/>
                </a:solidFill>
                <a:latin typeface="Lato Light" panose="020F0302020204030203" pitchFamily="34" charset="0"/>
                <a:ea typeface="+mn-ea"/>
                <a:cs typeface="Arial" panose="020B0604020202020204" pitchFamily="34" charset="0"/>
              </a:defRPr>
            </a:lvl3pPr>
            <a:lvl4pPr marL="324000" indent="-108000" algn="l" defTabSz="685800" rtl="0" eaLnBrk="1" latinLnBrk="0" hangingPunct="1">
              <a:spcBef>
                <a:spcPts val="0"/>
              </a:spcBef>
              <a:spcAft>
                <a:spcPts val="0"/>
              </a:spcAft>
              <a:buSzPct val="100000"/>
              <a:buFont typeface="Arial" panose="020B0604020202020204" pitchFamily="34" charset="0"/>
              <a:buChar char="•"/>
              <a:defRPr sz="1200" kern="1200">
                <a:solidFill>
                  <a:schemeClr val="tx1"/>
                </a:solidFill>
                <a:latin typeface="Lato Light" panose="020F0302020204030203" pitchFamily="34" charset="0"/>
                <a:ea typeface="+mn-ea"/>
                <a:cs typeface="Arial" panose="020B0604020202020204" pitchFamily="34" charset="0"/>
              </a:defRPr>
            </a:lvl4pPr>
            <a:lvl5pPr marL="432000" indent="-108000" algn="l" defTabSz="685800" rtl="0" eaLnBrk="1" latinLnBrk="0" hangingPunct="1">
              <a:spcBef>
                <a:spcPts val="0"/>
              </a:spcBef>
              <a:spcAft>
                <a:spcPts val="0"/>
              </a:spcAft>
              <a:buSzPct val="100000"/>
              <a:buFont typeface="Arial" panose="020B0604020202020204" pitchFamily="34" charset="0"/>
              <a:buChar char="•"/>
              <a:defRPr sz="1200" kern="1200">
                <a:solidFill>
                  <a:schemeClr val="tx1"/>
                </a:solidFill>
                <a:latin typeface="Lato Light" panose="020F0302020204030203" pitchFamily="34" charset="0"/>
                <a:ea typeface="+mn-ea"/>
                <a:cs typeface="Arial" panose="020B0604020202020204" pitchFamily="34" charset="0"/>
              </a:defRPr>
            </a:lvl5pPr>
            <a:lvl6pPr marL="432000" indent="-108000" algn="l" defTabSz="685800" rtl="0" eaLnBrk="1" latinLnBrk="0" hangingPunct="1">
              <a:spcBef>
                <a:spcPts val="0"/>
              </a:spcBef>
              <a:spcAft>
                <a:spcPts val="0"/>
              </a:spcAft>
              <a:buSzPct val="100000"/>
              <a:buFont typeface="Arial" panose="020B0604020202020204" pitchFamily="34" charset="0"/>
              <a:buChar char="•"/>
              <a:defRPr sz="1200" kern="1200">
                <a:solidFill>
                  <a:schemeClr val="tx1"/>
                </a:solidFill>
                <a:latin typeface="Lato Light" panose="020F0302020204030203" pitchFamily="34" charset="0"/>
                <a:ea typeface="+mn-ea"/>
                <a:cs typeface="Arial" panose="020B0604020202020204" pitchFamily="34" charset="0"/>
              </a:defRPr>
            </a:lvl6pPr>
            <a:lvl7pPr marL="432000" indent="-108000" algn="l" defTabSz="685800" rtl="0" eaLnBrk="1" latinLnBrk="0" hangingPunct="1">
              <a:spcBef>
                <a:spcPts val="0"/>
              </a:spcBef>
              <a:spcAft>
                <a:spcPts val="0"/>
              </a:spcAft>
              <a:buSzPct val="100000"/>
              <a:buFont typeface="Arial" panose="020B0604020202020204" pitchFamily="34" charset="0"/>
              <a:buChar char="•"/>
              <a:defRPr sz="1200" kern="1200">
                <a:solidFill>
                  <a:schemeClr val="tx1"/>
                </a:solidFill>
                <a:latin typeface="Lato Light" panose="020F0302020204030203" pitchFamily="34" charset="0"/>
                <a:ea typeface="+mn-ea"/>
                <a:cs typeface="Arial" panose="020B0604020202020204" pitchFamily="34" charset="0"/>
              </a:defRPr>
            </a:lvl7pPr>
            <a:lvl8pPr marL="432000" indent="-108000" algn="l" defTabSz="685800" rtl="0" eaLnBrk="1" latinLnBrk="0" hangingPunct="1">
              <a:spcBef>
                <a:spcPts val="0"/>
              </a:spcBef>
              <a:spcAft>
                <a:spcPts val="0"/>
              </a:spcAft>
              <a:buSzPct val="100000"/>
              <a:buFont typeface="Arial" panose="020B0604020202020204" pitchFamily="34" charset="0"/>
              <a:buChar char="•"/>
              <a:defRPr sz="1200" kern="1200">
                <a:solidFill>
                  <a:schemeClr val="tx1"/>
                </a:solidFill>
                <a:latin typeface="Lato Light" panose="020F0302020204030203" pitchFamily="34" charset="0"/>
                <a:ea typeface="+mn-ea"/>
                <a:cs typeface="Arial" panose="020B0604020202020204" pitchFamily="34" charset="0"/>
              </a:defRPr>
            </a:lvl8pPr>
            <a:lvl9pPr marL="432000" indent="-108000" algn="l" defTabSz="685800" rtl="0" eaLnBrk="1" latinLnBrk="0" hangingPunct="1">
              <a:spcBef>
                <a:spcPts val="0"/>
              </a:spcBef>
              <a:spcAft>
                <a:spcPts val="0"/>
              </a:spcAft>
              <a:buSzPct val="100000"/>
              <a:buFont typeface="Arial" panose="020B0604020202020204" pitchFamily="34" charset="0"/>
              <a:buChar char="•"/>
              <a:defRPr sz="1200" kern="1200" baseline="0">
                <a:solidFill>
                  <a:schemeClr val="tx1"/>
                </a:solidFill>
                <a:latin typeface="Lato Light" panose="020F0302020204030203" pitchFamily="34" charset="0"/>
                <a:ea typeface="+mn-ea"/>
                <a:cs typeface="Arial" panose="020B0604020202020204" pitchFamily="34" charset="0"/>
              </a:defRPr>
            </a:lvl9pPr>
          </a:lstStyle>
          <a:p>
            <a:pPr>
              <a:spcBef>
                <a:spcPct val="0"/>
              </a:spcBef>
              <a:spcAft>
                <a:spcPct val="0"/>
              </a:spcAft>
            </a:pPr>
            <a:fld id="{E8866A9A-CAB4-4289-A67D-0462EBC2C09A}" type="datetime'''''Ve''''r''''''a''''''n''''''''''''''t''wo''rt''lic''''h'''">
              <a:rPr lang="de-DE" altLang="en-US" sz="1000" b="1" smtClean="0">
                <a:cs typeface="+mn-cs"/>
              </a:rPr>
              <a:pPr/>
              <a:t>Verantwortlich</a:t>
            </a:fld>
            <a:endParaRPr lang="de-DE" sz="1000" b="1" noProof="0" dirty="0">
              <a:latin typeface="+mn-lt"/>
              <a:cs typeface="+mn-cs"/>
              <a:sym typeface="+mn-lt"/>
            </a:endParaRPr>
          </a:p>
        </p:txBody>
      </p:sp>
      <p:sp>
        <p:nvSpPr>
          <p:cNvPr id="97" name="Textplatzhalter 2">
            <a:extLst>
              <a:ext uri="{FF2B5EF4-FFF2-40B4-BE49-F238E27FC236}">
                <a16:creationId xmlns:a16="http://schemas.microsoft.com/office/drawing/2014/main" id="{2689146F-A70A-471B-9D84-1EB557C0B809}"/>
              </a:ext>
            </a:extLst>
          </p:cNvPr>
          <p:cNvSpPr>
            <a:spLocks noGrp="1"/>
          </p:cNvSpPr>
          <p:nvPr>
            <p:custDataLst>
              <p:tags r:id="rId75"/>
            </p:custDataLst>
          </p:nvPr>
        </p:nvSpPr>
        <p:spPr bwMode="auto">
          <a:xfrm>
            <a:off x="10785475" y="1700213"/>
            <a:ext cx="758825"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685800" rtl="0" eaLnBrk="1" latinLnBrk="0" hangingPunct="1">
              <a:spcBef>
                <a:spcPts val="0"/>
              </a:spcBef>
              <a:spcAft>
                <a:spcPts val="0"/>
              </a:spcAft>
              <a:buFont typeface="Arial" pitchFamily="34" charset="0"/>
              <a:buNone/>
              <a:defRPr sz="1200" kern="1200">
                <a:solidFill>
                  <a:schemeClr val="tx1"/>
                </a:solidFill>
                <a:latin typeface="Lato Light" panose="020F0302020204030203" pitchFamily="34" charset="0"/>
                <a:ea typeface="+mn-ea"/>
                <a:cs typeface="Arial" panose="020B0604020202020204" pitchFamily="34" charset="0"/>
              </a:defRPr>
            </a:lvl1pPr>
            <a:lvl2pPr marL="108000" indent="-108000" algn="l" defTabSz="685800" rtl="0" eaLnBrk="1" latinLnBrk="0" hangingPunct="1">
              <a:spcBef>
                <a:spcPts val="0"/>
              </a:spcBef>
              <a:spcAft>
                <a:spcPts val="0"/>
              </a:spcAft>
              <a:buFont typeface="Arial" panose="020B0604020202020204" pitchFamily="34" charset="0"/>
              <a:buChar char="•"/>
              <a:defRPr sz="1200" kern="1200">
                <a:solidFill>
                  <a:schemeClr val="tx1"/>
                </a:solidFill>
                <a:latin typeface="Lato Light" panose="020F0302020204030203" pitchFamily="34" charset="0"/>
                <a:ea typeface="+mn-ea"/>
                <a:cs typeface="Arial" panose="020B0604020202020204" pitchFamily="34" charset="0"/>
              </a:defRPr>
            </a:lvl2pPr>
            <a:lvl3pPr marL="216000" indent="-108000" algn="l" defTabSz="685800" rtl="0" eaLnBrk="1" latinLnBrk="0" hangingPunct="1">
              <a:spcBef>
                <a:spcPts val="0"/>
              </a:spcBef>
              <a:spcAft>
                <a:spcPts val="0"/>
              </a:spcAft>
              <a:buFont typeface="Arial" panose="020B0604020202020204" pitchFamily="34" charset="0"/>
              <a:buChar char="•"/>
              <a:defRPr sz="1200" kern="1200">
                <a:solidFill>
                  <a:schemeClr val="tx1"/>
                </a:solidFill>
                <a:latin typeface="Lato Light" panose="020F0302020204030203" pitchFamily="34" charset="0"/>
                <a:ea typeface="+mn-ea"/>
                <a:cs typeface="Arial" panose="020B0604020202020204" pitchFamily="34" charset="0"/>
              </a:defRPr>
            </a:lvl3pPr>
            <a:lvl4pPr marL="324000" indent="-108000" algn="l" defTabSz="685800" rtl="0" eaLnBrk="1" latinLnBrk="0" hangingPunct="1">
              <a:spcBef>
                <a:spcPts val="0"/>
              </a:spcBef>
              <a:spcAft>
                <a:spcPts val="0"/>
              </a:spcAft>
              <a:buSzPct val="100000"/>
              <a:buFont typeface="Arial" panose="020B0604020202020204" pitchFamily="34" charset="0"/>
              <a:buChar char="•"/>
              <a:defRPr sz="1200" kern="1200">
                <a:solidFill>
                  <a:schemeClr val="tx1"/>
                </a:solidFill>
                <a:latin typeface="Lato Light" panose="020F0302020204030203" pitchFamily="34" charset="0"/>
                <a:ea typeface="+mn-ea"/>
                <a:cs typeface="Arial" panose="020B0604020202020204" pitchFamily="34" charset="0"/>
              </a:defRPr>
            </a:lvl4pPr>
            <a:lvl5pPr marL="432000" indent="-108000" algn="l" defTabSz="685800" rtl="0" eaLnBrk="1" latinLnBrk="0" hangingPunct="1">
              <a:spcBef>
                <a:spcPts val="0"/>
              </a:spcBef>
              <a:spcAft>
                <a:spcPts val="0"/>
              </a:spcAft>
              <a:buSzPct val="100000"/>
              <a:buFont typeface="Arial" panose="020B0604020202020204" pitchFamily="34" charset="0"/>
              <a:buChar char="•"/>
              <a:defRPr sz="1200" kern="1200">
                <a:solidFill>
                  <a:schemeClr val="tx1"/>
                </a:solidFill>
                <a:latin typeface="Lato Light" panose="020F0302020204030203" pitchFamily="34" charset="0"/>
                <a:ea typeface="+mn-ea"/>
                <a:cs typeface="Arial" panose="020B0604020202020204" pitchFamily="34" charset="0"/>
              </a:defRPr>
            </a:lvl5pPr>
            <a:lvl6pPr marL="432000" indent="-108000" algn="l" defTabSz="685800" rtl="0" eaLnBrk="1" latinLnBrk="0" hangingPunct="1">
              <a:spcBef>
                <a:spcPts val="0"/>
              </a:spcBef>
              <a:spcAft>
                <a:spcPts val="0"/>
              </a:spcAft>
              <a:buSzPct val="100000"/>
              <a:buFont typeface="Arial" panose="020B0604020202020204" pitchFamily="34" charset="0"/>
              <a:buChar char="•"/>
              <a:defRPr sz="1200" kern="1200">
                <a:solidFill>
                  <a:schemeClr val="tx1"/>
                </a:solidFill>
                <a:latin typeface="Lato Light" panose="020F0302020204030203" pitchFamily="34" charset="0"/>
                <a:ea typeface="+mn-ea"/>
                <a:cs typeface="Arial" panose="020B0604020202020204" pitchFamily="34" charset="0"/>
              </a:defRPr>
            </a:lvl6pPr>
            <a:lvl7pPr marL="432000" indent="-108000" algn="l" defTabSz="685800" rtl="0" eaLnBrk="1" latinLnBrk="0" hangingPunct="1">
              <a:spcBef>
                <a:spcPts val="0"/>
              </a:spcBef>
              <a:spcAft>
                <a:spcPts val="0"/>
              </a:spcAft>
              <a:buSzPct val="100000"/>
              <a:buFont typeface="Arial" panose="020B0604020202020204" pitchFamily="34" charset="0"/>
              <a:buChar char="•"/>
              <a:defRPr sz="1200" kern="1200">
                <a:solidFill>
                  <a:schemeClr val="tx1"/>
                </a:solidFill>
                <a:latin typeface="Lato Light" panose="020F0302020204030203" pitchFamily="34" charset="0"/>
                <a:ea typeface="+mn-ea"/>
                <a:cs typeface="Arial" panose="020B0604020202020204" pitchFamily="34" charset="0"/>
              </a:defRPr>
            </a:lvl7pPr>
            <a:lvl8pPr marL="432000" indent="-108000" algn="l" defTabSz="685800" rtl="0" eaLnBrk="1" latinLnBrk="0" hangingPunct="1">
              <a:spcBef>
                <a:spcPts val="0"/>
              </a:spcBef>
              <a:spcAft>
                <a:spcPts val="0"/>
              </a:spcAft>
              <a:buSzPct val="100000"/>
              <a:buFont typeface="Arial" panose="020B0604020202020204" pitchFamily="34" charset="0"/>
              <a:buChar char="•"/>
              <a:defRPr sz="1200" kern="1200">
                <a:solidFill>
                  <a:schemeClr val="tx1"/>
                </a:solidFill>
                <a:latin typeface="Lato Light" panose="020F0302020204030203" pitchFamily="34" charset="0"/>
                <a:ea typeface="+mn-ea"/>
                <a:cs typeface="Arial" panose="020B0604020202020204" pitchFamily="34" charset="0"/>
              </a:defRPr>
            </a:lvl8pPr>
            <a:lvl9pPr marL="432000" indent="-108000" algn="l" defTabSz="685800" rtl="0" eaLnBrk="1" latinLnBrk="0" hangingPunct="1">
              <a:spcBef>
                <a:spcPts val="0"/>
              </a:spcBef>
              <a:spcAft>
                <a:spcPts val="0"/>
              </a:spcAft>
              <a:buSzPct val="100000"/>
              <a:buFont typeface="Arial" panose="020B0604020202020204" pitchFamily="34" charset="0"/>
              <a:buChar char="•"/>
              <a:defRPr sz="1200" kern="1200" baseline="0">
                <a:solidFill>
                  <a:schemeClr val="tx1"/>
                </a:solidFill>
                <a:latin typeface="Lato Light" panose="020F0302020204030203" pitchFamily="34" charset="0"/>
                <a:ea typeface="+mn-ea"/>
                <a:cs typeface="Arial" panose="020B0604020202020204" pitchFamily="34" charset="0"/>
              </a:defRPr>
            </a:lvl9pPr>
          </a:lstStyle>
          <a:p>
            <a:pPr>
              <a:spcBef>
                <a:spcPct val="0"/>
              </a:spcBef>
              <a:spcAft>
                <a:spcPct val="0"/>
              </a:spcAft>
            </a:pPr>
            <a:r>
              <a:rPr lang="de-DE" sz="1000" dirty="0"/>
              <a:t>Robert Mayer</a:t>
            </a:r>
            <a:endParaRPr lang="de-DE" sz="1000" noProof="0" dirty="0">
              <a:latin typeface="+mn-lt"/>
              <a:cs typeface="+mn-cs"/>
              <a:sym typeface="+mn-lt"/>
            </a:endParaRPr>
          </a:p>
        </p:txBody>
      </p:sp>
      <p:sp>
        <p:nvSpPr>
          <p:cNvPr id="99" name="Textplatzhalter 2">
            <a:extLst>
              <a:ext uri="{FF2B5EF4-FFF2-40B4-BE49-F238E27FC236}">
                <a16:creationId xmlns:a16="http://schemas.microsoft.com/office/drawing/2014/main" id="{6B2D4F4C-F7A1-4966-84EB-6C6187AA2957}"/>
              </a:ext>
            </a:extLst>
          </p:cNvPr>
          <p:cNvSpPr>
            <a:spLocks noGrp="1"/>
          </p:cNvSpPr>
          <p:nvPr>
            <p:custDataLst>
              <p:tags r:id="rId76"/>
            </p:custDataLst>
          </p:nvPr>
        </p:nvSpPr>
        <p:spPr bwMode="auto">
          <a:xfrm>
            <a:off x="10785475" y="1995488"/>
            <a:ext cx="663575"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685800" rtl="0" eaLnBrk="1" latinLnBrk="0" hangingPunct="1">
              <a:spcBef>
                <a:spcPts val="0"/>
              </a:spcBef>
              <a:spcAft>
                <a:spcPts val="0"/>
              </a:spcAft>
              <a:buFont typeface="Arial" pitchFamily="34" charset="0"/>
              <a:buNone/>
              <a:defRPr sz="1200" kern="1200">
                <a:solidFill>
                  <a:schemeClr val="tx1"/>
                </a:solidFill>
                <a:latin typeface="Lato Light" panose="020F0302020204030203" pitchFamily="34" charset="0"/>
                <a:ea typeface="+mn-ea"/>
                <a:cs typeface="Arial" panose="020B0604020202020204" pitchFamily="34" charset="0"/>
              </a:defRPr>
            </a:lvl1pPr>
            <a:lvl2pPr marL="108000" indent="-108000" algn="l" defTabSz="685800" rtl="0" eaLnBrk="1" latinLnBrk="0" hangingPunct="1">
              <a:spcBef>
                <a:spcPts val="0"/>
              </a:spcBef>
              <a:spcAft>
                <a:spcPts val="0"/>
              </a:spcAft>
              <a:buFont typeface="Arial" panose="020B0604020202020204" pitchFamily="34" charset="0"/>
              <a:buChar char="•"/>
              <a:defRPr sz="1200" kern="1200">
                <a:solidFill>
                  <a:schemeClr val="tx1"/>
                </a:solidFill>
                <a:latin typeface="Lato Light" panose="020F0302020204030203" pitchFamily="34" charset="0"/>
                <a:ea typeface="+mn-ea"/>
                <a:cs typeface="Arial" panose="020B0604020202020204" pitchFamily="34" charset="0"/>
              </a:defRPr>
            </a:lvl2pPr>
            <a:lvl3pPr marL="216000" indent="-108000" algn="l" defTabSz="685800" rtl="0" eaLnBrk="1" latinLnBrk="0" hangingPunct="1">
              <a:spcBef>
                <a:spcPts val="0"/>
              </a:spcBef>
              <a:spcAft>
                <a:spcPts val="0"/>
              </a:spcAft>
              <a:buFont typeface="Arial" panose="020B0604020202020204" pitchFamily="34" charset="0"/>
              <a:buChar char="•"/>
              <a:defRPr sz="1200" kern="1200">
                <a:solidFill>
                  <a:schemeClr val="tx1"/>
                </a:solidFill>
                <a:latin typeface="Lato Light" panose="020F0302020204030203" pitchFamily="34" charset="0"/>
                <a:ea typeface="+mn-ea"/>
                <a:cs typeface="Arial" panose="020B0604020202020204" pitchFamily="34" charset="0"/>
              </a:defRPr>
            </a:lvl3pPr>
            <a:lvl4pPr marL="324000" indent="-108000" algn="l" defTabSz="685800" rtl="0" eaLnBrk="1" latinLnBrk="0" hangingPunct="1">
              <a:spcBef>
                <a:spcPts val="0"/>
              </a:spcBef>
              <a:spcAft>
                <a:spcPts val="0"/>
              </a:spcAft>
              <a:buSzPct val="100000"/>
              <a:buFont typeface="Arial" panose="020B0604020202020204" pitchFamily="34" charset="0"/>
              <a:buChar char="•"/>
              <a:defRPr sz="1200" kern="1200">
                <a:solidFill>
                  <a:schemeClr val="tx1"/>
                </a:solidFill>
                <a:latin typeface="Lato Light" panose="020F0302020204030203" pitchFamily="34" charset="0"/>
                <a:ea typeface="+mn-ea"/>
                <a:cs typeface="Arial" panose="020B0604020202020204" pitchFamily="34" charset="0"/>
              </a:defRPr>
            </a:lvl4pPr>
            <a:lvl5pPr marL="432000" indent="-108000" algn="l" defTabSz="685800" rtl="0" eaLnBrk="1" latinLnBrk="0" hangingPunct="1">
              <a:spcBef>
                <a:spcPts val="0"/>
              </a:spcBef>
              <a:spcAft>
                <a:spcPts val="0"/>
              </a:spcAft>
              <a:buSzPct val="100000"/>
              <a:buFont typeface="Arial" panose="020B0604020202020204" pitchFamily="34" charset="0"/>
              <a:buChar char="•"/>
              <a:defRPr sz="1200" kern="1200">
                <a:solidFill>
                  <a:schemeClr val="tx1"/>
                </a:solidFill>
                <a:latin typeface="Lato Light" panose="020F0302020204030203" pitchFamily="34" charset="0"/>
                <a:ea typeface="+mn-ea"/>
                <a:cs typeface="Arial" panose="020B0604020202020204" pitchFamily="34" charset="0"/>
              </a:defRPr>
            </a:lvl5pPr>
            <a:lvl6pPr marL="432000" indent="-108000" algn="l" defTabSz="685800" rtl="0" eaLnBrk="1" latinLnBrk="0" hangingPunct="1">
              <a:spcBef>
                <a:spcPts val="0"/>
              </a:spcBef>
              <a:spcAft>
                <a:spcPts val="0"/>
              </a:spcAft>
              <a:buSzPct val="100000"/>
              <a:buFont typeface="Arial" panose="020B0604020202020204" pitchFamily="34" charset="0"/>
              <a:buChar char="•"/>
              <a:defRPr sz="1200" kern="1200">
                <a:solidFill>
                  <a:schemeClr val="tx1"/>
                </a:solidFill>
                <a:latin typeface="Lato Light" panose="020F0302020204030203" pitchFamily="34" charset="0"/>
                <a:ea typeface="+mn-ea"/>
                <a:cs typeface="Arial" panose="020B0604020202020204" pitchFamily="34" charset="0"/>
              </a:defRPr>
            </a:lvl6pPr>
            <a:lvl7pPr marL="432000" indent="-108000" algn="l" defTabSz="685800" rtl="0" eaLnBrk="1" latinLnBrk="0" hangingPunct="1">
              <a:spcBef>
                <a:spcPts val="0"/>
              </a:spcBef>
              <a:spcAft>
                <a:spcPts val="0"/>
              </a:spcAft>
              <a:buSzPct val="100000"/>
              <a:buFont typeface="Arial" panose="020B0604020202020204" pitchFamily="34" charset="0"/>
              <a:buChar char="•"/>
              <a:defRPr sz="1200" kern="1200">
                <a:solidFill>
                  <a:schemeClr val="tx1"/>
                </a:solidFill>
                <a:latin typeface="Lato Light" panose="020F0302020204030203" pitchFamily="34" charset="0"/>
                <a:ea typeface="+mn-ea"/>
                <a:cs typeface="Arial" panose="020B0604020202020204" pitchFamily="34" charset="0"/>
              </a:defRPr>
            </a:lvl7pPr>
            <a:lvl8pPr marL="432000" indent="-108000" algn="l" defTabSz="685800" rtl="0" eaLnBrk="1" latinLnBrk="0" hangingPunct="1">
              <a:spcBef>
                <a:spcPts val="0"/>
              </a:spcBef>
              <a:spcAft>
                <a:spcPts val="0"/>
              </a:spcAft>
              <a:buSzPct val="100000"/>
              <a:buFont typeface="Arial" panose="020B0604020202020204" pitchFamily="34" charset="0"/>
              <a:buChar char="•"/>
              <a:defRPr sz="1200" kern="1200">
                <a:solidFill>
                  <a:schemeClr val="tx1"/>
                </a:solidFill>
                <a:latin typeface="Lato Light" panose="020F0302020204030203" pitchFamily="34" charset="0"/>
                <a:ea typeface="+mn-ea"/>
                <a:cs typeface="Arial" panose="020B0604020202020204" pitchFamily="34" charset="0"/>
              </a:defRPr>
            </a:lvl8pPr>
            <a:lvl9pPr marL="432000" indent="-108000" algn="l" defTabSz="685800" rtl="0" eaLnBrk="1" latinLnBrk="0" hangingPunct="1">
              <a:spcBef>
                <a:spcPts val="0"/>
              </a:spcBef>
              <a:spcAft>
                <a:spcPts val="0"/>
              </a:spcAft>
              <a:buSzPct val="100000"/>
              <a:buFont typeface="Arial" panose="020B0604020202020204" pitchFamily="34" charset="0"/>
              <a:buChar char="•"/>
              <a:defRPr sz="1200" kern="1200" baseline="0">
                <a:solidFill>
                  <a:schemeClr val="tx1"/>
                </a:solidFill>
                <a:latin typeface="Lato Light" panose="020F0302020204030203" pitchFamily="34" charset="0"/>
                <a:ea typeface="+mn-ea"/>
                <a:cs typeface="Arial" panose="020B0604020202020204" pitchFamily="34" charset="0"/>
              </a:defRPr>
            </a:lvl9pPr>
          </a:lstStyle>
          <a:p>
            <a:r>
              <a:rPr lang="de-DE" sz="1000" dirty="0"/>
              <a:t>Chris Grohe</a:t>
            </a:r>
          </a:p>
        </p:txBody>
      </p:sp>
      <p:sp>
        <p:nvSpPr>
          <p:cNvPr id="75" name="Textplatzhalter 2">
            <a:extLst>
              <a:ext uri="{FF2B5EF4-FFF2-40B4-BE49-F238E27FC236}">
                <a16:creationId xmlns:a16="http://schemas.microsoft.com/office/drawing/2014/main" id="{A67D77CF-32A0-4F9B-AF28-911F775964A2}"/>
              </a:ext>
            </a:extLst>
          </p:cNvPr>
          <p:cNvSpPr>
            <a:spLocks noGrp="1"/>
          </p:cNvSpPr>
          <p:nvPr>
            <p:custDataLst>
              <p:tags r:id="rId77"/>
            </p:custDataLst>
          </p:nvPr>
        </p:nvSpPr>
        <p:spPr bwMode="auto">
          <a:xfrm>
            <a:off x="385763" y="1700213"/>
            <a:ext cx="776288"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0"/>
              </a:spcBef>
              <a:spcAft>
                <a:spcPts val="0"/>
              </a:spcAft>
              <a:buFont typeface="Arial" pitchFamily="34" charset="0"/>
              <a:buNone/>
              <a:defRPr sz="1600" kern="1200">
                <a:solidFill>
                  <a:schemeClr val="tx1"/>
                </a:solidFill>
                <a:latin typeface="+mn-lt"/>
                <a:ea typeface="+mn-ea"/>
                <a:cs typeface="+mn-cs"/>
              </a:defRPr>
            </a:lvl1pPr>
            <a:lvl2pPr marL="144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2pPr>
            <a:lvl3pPr marL="288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3pPr>
            <a:lvl4pPr marL="432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4pPr>
            <a:lvl5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5pPr>
            <a:lvl6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6pPr>
            <a:lvl7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7pPr>
            <a:lvl8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8pPr>
            <a:lvl9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Tx/>
              <a:buFont typeface="Arial" pitchFamily="34" charset="0"/>
              <a:buNone/>
              <a:tabLst/>
              <a:defRPr/>
            </a:pPr>
            <a:r>
              <a:rPr kumimoji="0" lang="de-DE" sz="1000" b="1" i="0" u="none" strike="noStrike" kern="1200" cap="none" spc="0" normalizeH="0" baseline="0" dirty="0">
                <a:ln>
                  <a:noFill/>
                </a:ln>
                <a:effectLst/>
                <a:uLnTx/>
                <a:uFillTx/>
                <a:sym typeface="+mn-lt"/>
              </a:rPr>
              <a:t>Projekt Phönix</a:t>
            </a:r>
          </a:p>
        </p:txBody>
      </p:sp>
      <p:sp>
        <p:nvSpPr>
          <p:cNvPr id="84" name="Textplatzhalter 2">
            <a:extLst>
              <a:ext uri="{FF2B5EF4-FFF2-40B4-BE49-F238E27FC236}">
                <a16:creationId xmlns:a16="http://schemas.microsoft.com/office/drawing/2014/main" id="{D1AC0186-FD8A-4DFC-B7C1-24AB8A9744CF}"/>
              </a:ext>
            </a:extLst>
          </p:cNvPr>
          <p:cNvSpPr>
            <a:spLocks noGrp="1"/>
          </p:cNvSpPr>
          <p:nvPr>
            <p:custDataLst>
              <p:tags r:id="rId78"/>
            </p:custDataLst>
          </p:nvPr>
        </p:nvSpPr>
        <p:spPr bwMode="auto">
          <a:xfrm>
            <a:off x="10785475" y="2786063"/>
            <a:ext cx="731838"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685800" rtl="0" eaLnBrk="1" latinLnBrk="0" hangingPunct="1">
              <a:spcBef>
                <a:spcPts val="0"/>
              </a:spcBef>
              <a:spcAft>
                <a:spcPts val="0"/>
              </a:spcAft>
              <a:buFont typeface="Arial" pitchFamily="34" charset="0"/>
              <a:buNone/>
              <a:defRPr sz="1200" kern="1200">
                <a:solidFill>
                  <a:schemeClr val="tx1"/>
                </a:solidFill>
                <a:latin typeface="Lato Light" panose="020F0302020204030203" pitchFamily="34" charset="0"/>
                <a:ea typeface="+mn-ea"/>
                <a:cs typeface="Arial" panose="020B0604020202020204" pitchFamily="34" charset="0"/>
              </a:defRPr>
            </a:lvl1pPr>
            <a:lvl2pPr marL="108000" indent="-108000" algn="l" defTabSz="685800" rtl="0" eaLnBrk="1" latinLnBrk="0" hangingPunct="1">
              <a:spcBef>
                <a:spcPts val="0"/>
              </a:spcBef>
              <a:spcAft>
                <a:spcPts val="0"/>
              </a:spcAft>
              <a:buFont typeface="Arial" panose="020B0604020202020204" pitchFamily="34" charset="0"/>
              <a:buChar char="•"/>
              <a:defRPr sz="1200" kern="1200">
                <a:solidFill>
                  <a:schemeClr val="tx1"/>
                </a:solidFill>
                <a:latin typeface="Lato Light" panose="020F0302020204030203" pitchFamily="34" charset="0"/>
                <a:ea typeface="+mn-ea"/>
                <a:cs typeface="Arial" panose="020B0604020202020204" pitchFamily="34" charset="0"/>
              </a:defRPr>
            </a:lvl2pPr>
            <a:lvl3pPr marL="216000" indent="-108000" algn="l" defTabSz="685800" rtl="0" eaLnBrk="1" latinLnBrk="0" hangingPunct="1">
              <a:spcBef>
                <a:spcPts val="0"/>
              </a:spcBef>
              <a:spcAft>
                <a:spcPts val="0"/>
              </a:spcAft>
              <a:buFont typeface="Arial" panose="020B0604020202020204" pitchFamily="34" charset="0"/>
              <a:buChar char="•"/>
              <a:defRPr sz="1200" kern="1200">
                <a:solidFill>
                  <a:schemeClr val="tx1"/>
                </a:solidFill>
                <a:latin typeface="Lato Light" panose="020F0302020204030203" pitchFamily="34" charset="0"/>
                <a:ea typeface="+mn-ea"/>
                <a:cs typeface="Arial" panose="020B0604020202020204" pitchFamily="34" charset="0"/>
              </a:defRPr>
            </a:lvl3pPr>
            <a:lvl4pPr marL="324000" indent="-108000" algn="l" defTabSz="685800" rtl="0" eaLnBrk="1" latinLnBrk="0" hangingPunct="1">
              <a:spcBef>
                <a:spcPts val="0"/>
              </a:spcBef>
              <a:spcAft>
                <a:spcPts val="0"/>
              </a:spcAft>
              <a:buSzPct val="100000"/>
              <a:buFont typeface="Arial" panose="020B0604020202020204" pitchFamily="34" charset="0"/>
              <a:buChar char="•"/>
              <a:defRPr sz="1200" kern="1200">
                <a:solidFill>
                  <a:schemeClr val="tx1"/>
                </a:solidFill>
                <a:latin typeface="Lato Light" panose="020F0302020204030203" pitchFamily="34" charset="0"/>
                <a:ea typeface="+mn-ea"/>
                <a:cs typeface="Arial" panose="020B0604020202020204" pitchFamily="34" charset="0"/>
              </a:defRPr>
            </a:lvl4pPr>
            <a:lvl5pPr marL="432000" indent="-108000" algn="l" defTabSz="685800" rtl="0" eaLnBrk="1" latinLnBrk="0" hangingPunct="1">
              <a:spcBef>
                <a:spcPts val="0"/>
              </a:spcBef>
              <a:spcAft>
                <a:spcPts val="0"/>
              </a:spcAft>
              <a:buSzPct val="100000"/>
              <a:buFont typeface="Arial" panose="020B0604020202020204" pitchFamily="34" charset="0"/>
              <a:buChar char="•"/>
              <a:defRPr sz="1200" kern="1200">
                <a:solidFill>
                  <a:schemeClr val="tx1"/>
                </a:solidFill>
                <a:latin typeface="Lato Light" panose="020F0302020204030203" pitchFamily="34" charset="0"/>
                <a:ea typeface="+mn-ea"/>
                <a:cs typeface="Arial" panose="020B0604020202020204" pitchFamily="34" charset="0"/>
              </a:defRPr>
            </a:lvl5pPr>
            <a:lvl6pPr marL="432000" indent="-108000" algn="l" defTabSz="685800" rtl="0" eaLnBrk="1" latinLnBrk="0" hangingPunct="1">
              <a:spcBef>
                <a:spcPts val="0"/>
              </a:spcBef>
              <a:spcAft>
                <a:spcPts val="0"/>
              </a:spcAft>
              <a:buSzPct val="100000"/>
              <a:buFont typeface="Arial" panose="020B0604020202020204" pitchFamily="34" charset="0"/>
              <a:buChar char="•"/>
              <a:defRPr sz="1200" kern="1200">
                <a:solidFill>
                  <a:schemeClr val="tx1"/>
                </a:solidFill>
                <a:latin typeface="Lato Light" panose="020F0302020204030203" pitchFamily="34" charset="0"/>
                <a:ea typeface="+mn-ea"/>
                <a:cs typeface="Arial" panose="020B0604020202020204" pitchFamily="34" charset="0"/>
              </a:defRPr>
            </a:lvl6pPr>
            <a:lvl7pPr marL="432000" indent="-108000" algn="l" defTabSz="685800" rtl="0" eaLnBrk="1" latinLnBrk="0" hangingPunct="1">
              <a:spcBef>
                <a:spcPts val="0"/>
              </a:spcBef>
              <a:spcAft>
                <a:spcPts val="0"/>
              </a:spcAft>
              <a:buSzPct val="100000"/>
              <a:buFont typeface="Arial" panose="020B0604020202020204" pitchFamily="34" charset="0"/>
              <a:buChar char="•"/>
              <a:defRPr sz="1200" kern="1200">
                <a:solidFill>
                  <a:schemeClr val="tx1"/>
                </a:solidFill>
                <a:latin typeface="Lato Light" panose="020F0302020204030203" pitchFamily="34" charset="0"/>
                <a:ea typeface="+mn-ea"/>
                <a:cs typeface="Arial" panose="020B0604020202020204" pitchFamily="34" charset="0"/>
              </a:defRPr>
            </a:lvl7pPr>
            <a:lvl8pPr marL="432000" indent="-108000" algn="l" defTabSz="685800" rtl="0" eaLnBrk="1" latinLnBrk="0" hangingPunct="1">
              <a:spcBef>
                <a:spcPts val="0"/>
              </a:spcBef>
              <a:spcAft>
                <a:spcPts val="0"/>
              </a:spcAft>
              <a:buSzPct val="100000"/>
              <a:buFont typeface="Arial" panose="020B0604020202020204" pitchFamily="34" charset="0"/>
              <a:buChar char="•"/>
              <a:defRPr sz="1200" kern="1200">
                <a:solidFill>
                  <a:schemeClr val="tx1"/>
                </a:solidFill>
                <a:latin typeface="Lato Light" panose="020F0302020204030203" pitchFamily="34" charset="0"/>
                <a:ea typeface="+mn-ea"/>
                <a:cs typeface="Arial" panose="020B0604020202020204" pitchFamily="34" charset="0"/>
              </a:defRPr>
            </a:lvl8pPr>
            <a:lvl9pPr marL="432000" indent="-108000" algn="l" defTabSz="685800" rtl="0" eaLnBrk="1" latinLnBrk="0" hangingPunct="1">
              <a:spcBef>
                <a:spcPts val="0"/>
              </a:spcBef>
              <a:spcAft>
                <a:spcPts val="0"/>
              </a:spcAft>
              <a:buSzPct val="100000"/>
              <a:buFont typeface="Arial" panose="020B0604020202020204" pitchFamily="34" charset="0"/>
              <a:buChar char="•"/>
              <a:defRPr sz="1200" kern="1200" baseline="0">
                <a:solidFill>
                  <a:schemeClr val="tx1"/>
                </a:solidFill>
                <a:latin typeface="Lato Light" panose="020F0302020204030203" pitchFamily="34" charset="0"/>
                <a:ea typeface="+mn-ea"/>
                <a:cs typeface="Arial" panose="020B0604020202020204" pitchFamily="34" charset="0"/>
              </a:defRPr>
            </a:lvl9pPr>
          </a:lstStyle>
          <a:p>
            <a:pPr>
              <a:spcBef>
                <a:spcPct val="0"/>
              </a:spcBef>
              <a:spcAft>
                <a:spcPct val="0"/>
              </a:spcAft>
            </a:pPr>
            <a:r>
              <a:rPr lang="de-DE" altLang="en-US" sz="1000" dirty="0">
                <a:cs typeface="+mn-cs"/>
              </a:rPr>
              <a:t>Maike Hinsch</a:t>
            </a:r>
            <a:endParaRPr lang="de-DE" sz="1000" noProof="0" dirty="0">
              <a:latin typeface="+mn-lt"/>
              <a:cs typeface="+mn-cs"/>
              <a:sym typeface="+mn-lt"/>
            </a:endParaRPr>
          </a:p>
        </p:txBody>
      </p:sp>
      <p:sp>
        <p:nvSpPr>
          <p:cNvPr id="95" name="Textplatzhalter 2">
            <a:extLst>
              <a:ext uri="{FF2B5EF4-FFF2-40B4-BE49-F238E27FC236}">
                <a16:creationId xmlns:a16="http://schemas.microsoft.com/office/drawing/2014/main" id="{459267A8-FF3B-432B-8886-58D32F92555C}"/>
              </a:ext>
            </a:extLst>
          </p:cNvPr>
          <p:cNvSpPr>
            <a:spLocks noGrp="1"/>
          </p:cNvSpPr>
          <p:nvPr>
            <p:custDataLst>
              <p:tags r:id="rId79"/>
            </p:custDataLst>
          </p:nvPr>
        </p:nvSpPr>
        <p:spPr bwMode="gray">
          <a:xfrm>
            <a:off x="385763" y="2490788"/>
            <a:ext cx="137795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0"/>
              </a:spcBef>
              <a:spcAft>
                <a:spcPts val="0"/>
              </a:spcAft>
              <a:buFont typeface="Arial" pitchFamily="34" charset="0"/>
              <a:buNone/>
              <a:defRPr sz="1600" kern="1200">
                <a:solidFill>
                  <a:schemeClr val="tx1"/>
                </a:solidFill>
                <a:latin typeface="+mn-lt"/>
                <a:ea typeface="+mn-ea"/>
                <a:cs typeface="+mn-cs"/>
              </a:defRPr>
            </a:lvl1pPr>
            <a:lvl2pPr marL="144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2pPr>
            <a:lvl3pPr marL="288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3pPr>
            <a:lvl4pPr marL="432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4pPr>
            <a:lvl5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5pPr>
            <a:lvl6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6pPr>
            <a:lvl7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7pPr>
            <a:lvl8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8pPr>
            <a:lvl9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Tx/>
              <a:buFont typeface="Arial" pitchFamily="34" charset="0"/>
              <a:buNone/>
              <a:tabLst/>
              <a:defRPr/>
            </a:pPr>
            <a:r>
              <a:rPr kumimoji="0" lang="de-DE" sz="1000" b="0" i="0" u="none" strike="noStrike" kern="1200" cap="none" spc="0" normalizeH="0" baseline="0" dirty="0">
                <a:ln>
                  <a:noFill/>
                </a:ln>
                <a:solidFill>
                  <a:prstClr val="black"/>
                </a:solidFill>
                <a:effectLst/>
                <a:uLnTx/>
                <a:uFillTx/>
                <a:sym typeface="+mn-lt"/>
              </a:rPr>
              <a:t>Identifikation EBIT-Lücke</a:t>
            </a:r>
          </a:p>
        </p:txBody>
      </p:sp>
      <p:sp>
        <p:nvSpPr>
          <p:cNvPr id="106" name="Textplatzhalter 2">
            <a:extLst>
              <a:ext uri="{FF2B5EF4-FFF2-40B4-BE49-F238E27FC236}">
                <a16:creationId xmlns:a16="http://schemas.microsoft.com/office/drawing/2014/main" id="{DA2BD129-928D-48A2-9886-879E4F2987FD}"/>
              </a:ext>
            </a:extLst>
          </p:cNvPr>
          <p:cNvSpPr>
            <a:spLocks noGrp="1"/>
          </p:cNvSpPr>
          <p:nvPr>
            <p:custDataLst>
              <p:tags r:id="rId80"/>
            </p:custDataLst>
          </p:nvPr>
        </p:nvSpPr>
        <p:spPr bwMode="gray">
          <a:xfrm>
            <a:off x="385763" y="5546725"/>
            <a:ext cx="1084263"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0"/>
              </a:spcBef>
              <a:spcAft>
                <a:spcPts val="0"/>
              </a:spcAft>
              <a:buFont typeface="Arial" pitchFamily="34" charset="0"/>
              <a:buNone/>
              <a:defRPr sz="1600" kern="1200">
                <a:solidFill>
                  <a:schemeClr val="tx1"/>
                </a:solidFill>
                <a:latin typeface="+mn-lt"/>
                <a:ea typeface="+mn-ea"/>
                <a:cs typeface="+mn-cs"/>
              </a:defRPr>
            </a:lvl1pPr>
            <a:lvl2pPr marL="144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2pPr>
            <a:lvl3pPr marL="288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3pPr>
            <a:lvl4pPr marL="432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4pPr>
            <a:lvl5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5pPr>
            <a:lvl6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6pPr>
            <a:lvl7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7pPr>
            <a:lvl8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8pPr>
            <a:lvl9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9pPr>
          </a:lstStyle>
          <a:p>
            <a:pPr lvl="0">
              <a:spcBef>
                <a:spcPct val="0"/>
              </a:spcBef>
              <a:spcAft>
                <a:spcPct val="0"/>
              </a:spcAft>
              <a:defRPr/>
            </a:pPr>
            <a:r>
              <a:rPr lang="de-DE" altLang="en-US" sz="1000" dirty="0">
                <a:solidFill>
                  <a:srgbClr val="000000"/>
                </a:solidFill>
              </a:rPr>
              <a:t>BR-Versammlungen</a:t>
            </a:r>
            <a:endParaRPr kumimoji="0" lang="de-DE" altLang="en-US" sz="1000" b="0" i="0" strike="noStrike" kern="1200" spc="0" normalizeH="0" dirty="0">
              <a:ln>
                <a:noFill/>
              </a:ln>
              <a:solidFill>
                <a:srgbClr val="000000"/>
              </a:solidFill>
              <a:effectLst/>
              <a:uLnTx/>
              <a:uFillTx/>
              <a:sym typeface="+mn-lt"/>
            </a:endParaRPr>
          </a:p>
        </p:txBody>
      </p:sp>
      <p:sp>
        <p:nvSpPr>
          <p:cNvPr id="74" name="Textplatzhalter 2">
            <a:extLst>
              <a:ext uri="{FF2B5EF4-FFF2-40B4-BE49-F238E27FC236}">
                <a16:creationId xmlns:a16="http://schemas.microsoft.com/office/drawing/2014/main" id="{DFF9E783-9305-49E8-B839-984D2C221574}"/>
              </a:ext>
            </a:extLst>
          </p:cNvPr>
          <p:cNvSpPr>
            <a:spLocks noGrp="1"/>
          </p:cNvSpPr>
          <p:nvPr>
            <p:custDataLst>
              <p:tags r:id="rId81"/>
            </p:custDataLst>
          </p:nvPr>
        </p:nvSpPr>
        <p:spPr bwMode="gray">
          <a:xfrm>
            <a:off x="385763" y="1995488"/>
            <a:ext cx="2921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0"/>
              </a:spcBef>
              <a:spcAft>
                <a:spcPts val="0"/>
              </a:spcAft>
              <a:buFont typeface="Arial" pitchFamily="34" charset="0"/>
              <a:buNone/>
              <a:defRPr sz="1600" kern="1200">
                <a:solidFill>
                  <a:schemeClr val="tx1"/>
                </a:solidFill>
                <a:latin typeface="+mn-lt"/>
                <a:ea typeface="+mn-ea"/>
                <a:cs typeface="+mn-cs"/>
              </a:defRPr>
            </a:lvl1pPr>
            <a:lvl2pPr marL="144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2pPr>
            <a:lvl3pPr marL="288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3pPr>
            <a:lvl4pPr marL="432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4pPr>
            <a:lvl5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5pPr>
            <a:lvl6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6pPr>
            <a:lvl7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7pPr>
            <a:lvl8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8pPr>
            <a:lvl9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9pPr>
          </a:lstStyle>
          <a:p>
            <a:pPr lvl="0">
              <a:spcBef>
                <a:spcPct val="0"/>
              </a:spcBef>
              <a:spcAft>
                <a:spcPct val="0"/>
              </a:spcAft>
              <a:defRPr/>
            </a:pPr>
            <a:r>
              <a:rPr lang="en-US" altLang="en-US" sz="1000" dirty="0">
                <a:solidFill>
                  <a:srgbClr val="000000"/>
                </a:solidFill>
                <a:sym typeface="+mn-lt"/>
              </a:rPr>
              <a:t>PMO</a:t>
            </a:r>
            <a:endParaRPr kumimoji="0" lang="en-US" altLang="en-US" sz="1000" b="0" i="0" strike="noStrike" kern="1200" spc="0" normalizeH="0" noProof="0" dirty="0">
              <a:ln>
                <a:noFill/>
              </a:ln>
              <a:solidFill>
                <a:srgbClr val="000000"/>
              </a:solidFill>
              <a:effectLst/>
              <a:uLnTx/>
              <a:uFillTx/>
              <a:sym typeface="+mn-lt"/>
            </a:endParaRPr>
          </a:p>
        </p:txBody>
      </p:sp>
      <p:sp>
        <p:nvSpPr>
          <p:cNvPr id="73" name="Textplatzhalter 2">
            <a:extLst>
              <a:ext uri="{FF2B5EF4-FFF2-40B4-BE49-F238E27FC236}">
                <a16:creationId xmlns:a16="http://schemas.microsoft.com/office/drawing/2014/main" id="{28217B33-BE4B-4CFA-A58C-956793AE25EB}"/>
              </a:ext>
            </a:extLst>
          </p:cNvPr>
          <p:cNvSpPr>
            <a:spLocks noGrp="1"/>
          </p:cNvSpPr>
          <p:nvPr>
            <p:custDataLst>
              <p:tags r:id="rId82"/>
            </p:custDataLst>
          </p:nvPr>
        </p:nvSpPr>
        <p:spPr bwMode="gray">
          <a:xfrm>
            <a:off x="385763" y="2243138"/>
            <a:ext cx="11811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0"/>
              </a:spcBef>
              <a:spcAft>
                <a:spcPts val="0"/>
              </a:spcAft>
              <a:buFont typeface="Arial" pitchFamily="34" charset="0"/>
              <a:buNone/>
              <a:defRPr sz="1600" kern="1200">
                <a:solidFill>
                  <a:schemeClr val="tx1"/>
                </a:solidFill>
                <a:latin typeface="+mn-lt"/>
                <a:ea typeface="+mn-ea"/>
                <a:cs typeface="+mn-cs"/>
              </a:defRPr>
            </a:lvl1pPr>
            <a:lvl2pPr marL="144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2pPr>
            <a:lvl3pPr marL="288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3pPr>
            <a:lvl4pPr marL="432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4pPr>
            <a:lvl5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5pPr>
            <a:lvl6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6pPr>
            <a:lvl7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7pPr>
            <a:lvl8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8pPr>
            <a:lvl9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Tx/>
              <a:buFont typeface="Arial" pitchFamily="34" charset="0"/>
              <a:buNone/>
              <a:tabLst/>
              <a:defRPr/>
            </a:pPr>
            <a:r>
              <a:rPr kumimoji="0" lang="en-US" altLang="en-US" sz="1000" b="0" i="0" u="none" strike="noStrike" kern="1200" cap="none" spc="0" normalizeH="0" baseline="0" noProof="0" dirty="0">
                <a:ln>
                  <a:noFill/>
                </a:ln>
                <a:solidFill>
                  <a:prstClr val="black"/>
                </a:solidFill>
                <a:effectLst/>
                <a:uLnTx/>
                <a:uFillTx/>
                <a:sym typeface="+mn-lt"/>
              </a:rPr>
              <a:t>Change Management </a:t>
            </a:r>
          </a:p>
        </p:txBody>
      </p:sp>
      <p:sp>
        <p:nvSpPr>
          <p:cNvPr id="76" name="Textplatzhalter 2">
            <a:extLst>
              <a:ext uri="{FF2B5EF4-FFF2-40B4-BE49-F238E27FC236}">
                <a16:creationId xmlns:a16="http://schemas.microsoft.com/office/drawing/2014/main" id="{E1D4704A-9BAF-4C13-A822-579BF4472610}"/>
              </a:ext>
            </a:extLst>
          </p:cNvPr>
          <p:cNvSpPr>
            <a:spLocks noGrp="1"/>
          </p:cNvSpPr>
          <p:nvPr>
            <p:custDataLst>
              <p:tags r:id="rId83"/>
            </p:custDataLst>
          </p:nvPr>
        </p:nvSpPr>
        <p:spPr bwMode="auto">
          <a:xfrm>
            <a:off x="385763" y="2786063"/>
            <a:ext cx="676275"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0"/>
              </a:spcBef>
              <a:spcAft>
                <a:spcPts val="0"/>
              </a:spcAft>
              <a:buFont typeface="Arial" pitchFamily="34" charset="0"/>
              <a:buNone/>
              <a:defRPr sz="1600" kern="1200">
                <a:solidFill>
                  <a:schemeClr val="tx1"/>
                </a:solidFill>
                <a:latin typeface="+mn-lt"/>
                <a:ea typeface="+mn-ea"/>
                <a:cs typeface="+mn-cs"/>
              </a:defRPr>
            </a:lvl1pPr>
            <a:lvl2pPr marL="144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2pPr>
            <a:lvl3pPr marL="288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3pPr>
            <a:lvl4pPr marL="432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4pPr>
            <a:lvl5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5pPr>
            <a:lvl6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6pPr>
            <a:lvl7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7pPr>
            <a:lvl8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8pPr>
            <a:lvl9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Tx/>
              <a:buFont typeface="Arial" pitchFamily="34" charset="0"/>
              <a:buNone/>
              <a:tabLst/>
              <a:defRPr/>
            </a:pPr>
            <a:r>
              <a:rPr lang="de-DE" sz="1000" b="1" dirty="0">
                <a:sym typeface="+mn-lt"/>
              </a:rPr>
              <a:t>Teilprojekt 1</a:t>
            </a:r>
            <a:endParaRPr kumimoji="0" lang="de-DE" sz="1000" b="1" i="0" u="none" strike="noStrike" kern="1200" cap="none" spc="0" normalizeH="0" baseline="0" dirty="0">
              <a:ln>
                <a:noFill/>
              </a:ln>
              <a:effectLst/>
              <a:uLnTx/>
              <a:uFillTx/>
              <a:sym typeface="+mn-lt"/>
            </a:endParaRPr>
          </a:p>
        </p:txBody>
      </p:sp>
      <p:sp>
        <p:nvSpPr>
          <p:cNvPr id="85" name="Textplatzhalter 2">
            <a:extLst>
              <a:ext uri="{FF2B5EF4-FFF2-40B4-BE49-F238E27FC236}">
                <a16:creationId xmlns:a16="http://schemas.microsoft.com/office/drawing/2014/main" id="{0607BABE-88D3-4888-AA7E-DABB6D4BCE39}"/>
              </a:ext>
            </a:extLst>
          </p:cNvPr>
          <p:cNvSpPr>
            <a:spLocks noGrp="1"/>
          </p:cNvSpPr>
          <p:nvPr>
            <p:custDataLst>
              <p:tags r:id="rId84"/>
            </p:custDataLst>
          </p:nvPr>
        </p:nvSpPr>
        <p:spPr bwMode="auto">
          <a:xfrm>
            <a:off x="10785475" y="3081338"/>
            <a:ext cx="782638"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685800" rtl="0" eaLnBrk="1" latinLnBrk="0" hangingPunct="1">
              <a:spcBef>
                <a:spcPts val="0"/>
              </a:spcBef>
              <a:spcAft>
                <a:spcPts val="0"/>
              </a:spcAft>
              <a:buFont typeface="Arial" pitchFamily="34" charset="0"/>
              <a:buNone/>
              <a:defRPr sz="1200" kern="1200">
                <a:solidFill>
                  <a:schemeClr val="tx1"/>
                </a:solidFill>
                <a:latin typeface="Lato Light" panose="020F0302020204030203" pitchFamily="34" charset="0"/>
                <a:ea typeface="+mn-ea"/>
                <a:cs typeface="Arial" panose="020B0604020202020204" pitchFamily="34" charset="0"/>
              </a:defRPr>
            </a:lvl1pPr>
            <a:lvl2pPr marL="108000" indent="-108000" algn="l" defTabSz="685800" rtl="0" eaLnBrk="1" latinLnBrk="0" hangingPunct="1">
              <a:spcBef>
                <a:spcPts val="0"/>
              </a:spcBef>
              <a:spcAft>
                <a:spcPts val="0"/>
              </a:spcAft>
              <a:buFont typeface="Arial" panose="020B0604020202020204" pitchFamily="34" charset="0"/>
              <a:buChar char="•"/>
              <a:defRPr sz="1200" kern="1200">
                <a:solidFill>
                  <a:schemeClr val="tx1"/>
                </a:solidFill>
                <a:latin typeface="Lato Light" panose="020F0302020204030203" pitchFamily="34" charset="0"/>
                <a:ea typeface="+mn-ea"/>
                <a:cs typeface="Arial" panose="020B0604020202020204" pitchFamily="34" charset="0"/>
              </a:defRPr>
            </a:lvl2pPr>
            <a:lvl3pPr marL="216000" indent="-108000" algn="l" defTabSz="685800" rtl="0" eaLnBrk="1" latinLnBrk="0" hangingPunct="1">
              <a:spcBef>
                <a:spcPts val="0"/>
              </a:spcBef>
              <a:spcAft>
                <a:spcPts val="0"/>
              </a:spcAft>
              <a:buFont typeface="Arial" panose="020B0604020202020204" pitchFamily="34" charset="0"/>
              <a:buChar char="•"/>
              <a:defRPr sz="1200" kern="1200">
                <a:solidFill>
                  <a:schemeClr val="tx1"/>
                </a:solidFill>
                <a:latin typeface="Lato Light" panose="020F0302020204030203" pitchFamily="34" charset="0"/>
                <a:ea typeface="+mn-ea"/>
                <a:cs typeface="Arial" panose="020B0604020202020204" pitchFamily="34" charset="0"/>
              </a:defRPr>
            </a:lvl3pPr>
            <a:lvl4pPr marL="324000" indent="-108000" algn="l" defTabSz="685800" rtl="0" eaLnBrk="1" latinLnBrk="0" hangingPunct="1">
              <a:spcBef>
                <a:spcPts val="0"/>
              </a:spcBef>
              <a:spcAft>
                <a:spcPts val="0"/>
              </a:spcAft>
              <a:buSzPct val="100000"/>
              <a:buFont typeface="Arial" panose="020B0604020202020204" pitchFamily="34" charset="0"/>
              <a:buChar char="•"/>
              <a:defRPr sz="1200" kern="1200">
                <a:solidFill>
                  <a:schemeClr val="tx1"/>
                </a:solidFill>
                <a:latin typeface="Lato Light" panose="020F0302020204030203" pitchFamily="34" charset="0"/>
                <a:ea typeface="+mn-ea"/>
                <a:cs typeface="Arial" panose="020B0604020202020204" pitchFamily="34" charset="0"/>
              </a:defRPr>
            </a:lvl4pPr>
            <a:lvl5pPr marL="432000" indent="-108000" algn="l" defTabSz="685800" rtl="0" eaLnBrk="1" latinLnBrk="0" hangingPunct="1">
              <a:spcBef>
                <a:spcPts val="0"/>
              </a:spcBef>
              <a:spcAft>
                <a:spcPts val="0"/>
              </a:spcAft>
              <a:buSzPct val="100000"/>
              <a:buFont typeface="Arial" panose="020B0604020202020204" pitchFamily="34" charset="0"/>
              <a:buChar char="•"/>
              <a:defRPr sz="1200" kern="1200">
                <a:solidFill>
                  <a:schemeClr val="tx1"/>
                </a:solidFill>
                <a:latin typeface="Lato Light" panose="020F0302020204030203" pitchFamily="34" charset="0"/>
                <a:ea typeface="+mn-ea"/>
                <a:cs typeface="Arial" panose="020B0604020202020204" pitchFamily="34" charset="0"/>
              </a:defRPr>
            </a:lvl5pPr>
            <a:lvl6pPr marL="432000" indent="-108000" algn="l" defTabSz="685800" rtl="0" eaLnBrk="1" latinLnBrk="0" hangingPunct="1">
              <a:spcBef>
                <a:spcPts val="0"/>
              </a:spcBef>
              <a:spcAft>
                <a:spcPts val="0"/>
              </a:spcAft>
              <a:buSzPct val="100000"/>
              <a:buFont typeface="Arial" panose="020B0604020202020204" pitchFamily="34" charset="0"/>
              <a:buChar char="•"/>
              <a:defRPr sz="1200" kern="1200">
                <a:solidFill>
                  <a:schemeClr val="tx1"/>
                </a:solidFill>
                <a:latin typeface="Lato Light" panose="020F0302020204030203" pitchFamily="34" charset="0"/>
                <a:ea typeface="+mn-ea"/>
                <a:cs typeface="Arial" panose="020B0604020202020204" pitchFamily="34" charset="0"/>
              </a:defRPr>
            </a:lvl6pPr>
            <a:lvl7pPr marL="432000" indent="-108000" algn="l" defTabSz="685800" rtl="0" eaLnBrk="1" latinLnBrk="0" hangingPunct="1">
              <a:spcBef>
                <a:spcPts val="0"/>
              </a:spcBef>
              <a:spcAft>
                <a:spcPts val="0"/>
              </a:spcAft>
              <a:buSzPct val="100000"/>
              <a:buFont typeface="Arial" panose="020B0604020202020204" pitchFamily="34" charset="0"/>
              <a:buChar char="•"/>
              <a:defRPr sz="1200" kern="1200">
                <a:solidFill>
                  <a:schemeClr val="tx1"/>
                </a:solidFill>
                <a:latin typeface="Lato Light" panose="020F0302020204030203" pitchFamily="34" charset="0"/>
                <a:ea typeface="+mn-ea"/>
                <a:cs typeface="Arial" panose="020B0604020202020204" pitchFamily="34" charset="0"/>
              </a:defRPr>
            </a:lvl7pPr>
            <a:lvl8pPr marL="432000" indent="-108000" algn="l" defTabSz="685800" rtl="0" eaLnBrk="1" latinLnBrk="0" hangingPunct="1">
              <a:spcBef>
                <a:spcPts val="0"/>
              </a:spcBef>
              <a:spcAft>
                <a:spcPts val="0"/>
              </a:spcAft>
              <a:buSzPct val="100000"/>
              <a:buFont typeface="Arial" panose="020B0604020202020204" pitchFamily="34" charset="0"/>
              <a:buChar char="•"/>
              <a:defRPr sz="1200" kern="1200">
                <a:solidFill>
                  <a:schemeClr val="tx1"/>
                </a:solidFill>
                <a:latin typeface="Lato Light" panose="020F0302020204030203" pitchFamily="34" charset="0"/>
                <a:ea typeface="+mn-ea"/>
                <a:cs typeface="Arial" panose="020B0604020202020204" pitchFamily="34" charset="0"/>
              </a:defRPr>
            </a:lvl8pPr>
            <a:lvl9pPr marL="432000" indent="-108000" algn="l" defTabSz="685800" rtl="0" eaLnBrk="1" latinLnBrk="0" hangingPunct="1">
              <a:spcBef>
                <a:spcPts val="0"/>
              </a:spcBef>
              <a:spcAft>
                <a:spcPts val="0"/>
              </a:spcAft>
              <a:buSzPct val="100000"/>
              <a:buFont typeface="Arial" panose="020B0604020202020204" pitchFamily="34" charset="0"/>
              <a:buChar char="•"/>
              <a:defRPr sz="1200" kern="1200" baseline="0">
                <a:solidFill>
                  <a:schemeClr val="tx1"/>
                </a:solidFill>
                <a:latin typeface="Lato Light" panose="020F0302020204030203" pitchFamily="34" charset="0"/>
                <a:ea typeface="+mn-ea"/>
                <a:cs typeface="Arial" panose="020B0604020202020204" pitchFamily="34" charset="0"/>
              </a:defRPr>
            </a:lvl9pPr>
          </a:lstStyle>
          <a:p>
            <a:pPr>
              <a:spcBef>
                <a:spcPct val="0"/>
              </a:spcBef>
              <a:spcAft>
                <a:spcPct val="0"/>
              </a:spcAft>
            </a:pPr>
            <a:r>
              <a:rPr lang="de-DE" sz="1000" dirty="0">
                <a:solidFill>
                  <a:schemeClr val="tx1"/>
                </a:solidFill>
              </a:rPr>
              <a:t>Helge Wolters</a:t>
            </a:r>
            <a:endParaRPr lang="de-DE" sz="1000" noProof="0" dirty="0">
              <a:latin typeface="+mn-lt"/>
              <a:cs typeface="+mn-cs"/>
              <a:sym typeface="+mn-lt"/>
            </a:endParaRPr>
          </a:p>
        </p:txBody>
      </p:sp>
      <p:sp>
        <p:nvSpPr>
          <p:cNvPr id="86" name="Textplatzhalter 2">
            <a:extLst>
              <a:ext uri="{FF2B5EF4-FFF2-40B4-BE49-F238E27FC236}">
                <a16:creationId xmlns:a16="http://schemas.microsoft.com/office/drawing/2014/main" id="{60CAAB35-CE12-46DB-BFC1-E1F79BB57BD1}"/>
              </a:ext>
            </a:extLst>
          </p:cNvPr>
          <p:cNvSpPr>
            <a:spLocks noGrp="1"/>
          </p:cNvSpPr>
          <p:nvPr>
            <p:custDataLst>
              <p:tags r:id="rId85"/>
            </p:custDataLst>
          </p:nvPr>
        </p:nvSpPr>
        <p:spPr bwMode="auto">
          <a:xfrm>
            <a:off x="10785475" y="3328988"/>
            <a:ext cx="782638"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685800" rtl="0" eaLnBrk="1" latinLnBrk="0" hangingPunct="1">
              <a:spcBef>
                <a:spcPts val="0"/>
              </a:spcBef>
              <a:spcAft>
                <a:spcPts val="0"/>
              </a:spcAft>
              <a:buFont typeface="Arial" pitchFamily="34" charset="0"/>
              <a:buNone/>
              <a:defRPr sz="1200" kern="1200">
                <a:solidFill>
                  <a:schemeClr val="tx1"/>
                </a:solidFill>
                <a:latin typeface="Lato Light" panose="020F0302020204030203" pitchFamily="34" charset="0"/>
                <a:ea typeface="+mn-ea"/>
                <a:cs typeface="Arial" panose="020B0604020202020204" pitchFamily="34" charset="0"/>
              </a:defRPr>
            </a:lvl1pPr>
            <a:lvl2pPr marL="108000" indent="-108000" algn="l" defTabSz="685800" rtl="0" eaLnBrk="1" latinLnBrk="0" hangingPunct="1">
              <a:spcBef>
                <a:spcPts val="0"/>
              </a:spcBef>
              <a:spcAft>
                <a:spcPts val="0"/>
              </a:spcAft>
              <a:buFont typeface="Arial" panose="020B0604020202020204" pitchFamily="34" charset="0"/>
              <a:buChar char="•"/>
              <a:defRPr sz="1200" kern="1200">
                <a:solidFill>
                  <a:schemeClr val="tx1"/>
                </a:solidFill>
                <a:latin typeface="Lato Light" panose="020F0302020204030203" pitchFamily="34" charset="0"/>
                <a:ea typeface="+mn-ea"/>
                <a:cs typeface="Arial" panose="020B0604020202020204" pitchFamily="34" charset="0"/>
              </a:defRPr>
            </a:lvl2pPr>
            <a:lvl3pPr marL="216000" indent="-108000" algn="l" defTabSz="685800" rtl="0" eaLnBrk="1" latinLnBrk="0" hangingPunct="1">
              <a:spcBef>
                <a:spcPts val="0"/>
              </a:spcBef>
              <a:spcAft>
                <a:spcPts val="0"/>
              </a:spcAft>
              <a:buFont typeface="Arial" panose="020B0604020202020204" pitchFamily="34" charset="0"/>
              <a:buChar char="•"/>
              <a:defRPr sz="1200" kern="1200">
                <a:solidFill>
                  <a:schemeClr val="tx1"/>
                </a:solidFill>
                <a:latin typeface="Lato Light" panose="020F0302020204030203" pitchFamily="34" charset="0"/>
                <a:ea typeface="+mn-ea"/>
                <a:cs typeface="Arial" panose="020B0604020202020204" pitchFamily="34" charset="0"/>
              </a:defRPr>
            </a:lvl3pPr>
            <a:lvl4pPr marL="324000" indent="-108000" algn="l" defTabSz="685800" rtl="0" eaLnBrk="1" latinLnBrk="0" hangingPunct="1">
              <a:spcBef>
                <a:spcPts val="0"/>
              </a:spcBef>
              <a:spcAft>
                <a:spcPts val="0"/>
              </a:spcAft>
              <a:buSzPct val="100000"/>
              <a:buFont typeface="Arial" panose="020B0604020202020204" pitchFamily="34" charset="0"/>
              <a:buChar char="•"/>
              <a:defRPr sz="1200" kern="1200">
                <a:solidFill>
                  <a:schemeClr val="tx1"/>
                </a:solidFill>
                <a:latin typeface="Lato Light" panose="020F0302020204030203" pitchFamily="34" charset="0"/>
                <a:ea typeface="+mn-ea"/>
                <a:cs typeface="Arial" panose="020B0604020202020204" pitchFamily="34" charset="0"/>
              </a:defRPr>
            </a:lvl4pPr>
            <a:lvl5pPr marL="432000" indent="-108000" algn="l" defTabSz="685800" rtl="0" eaLnBrk="1" latinLnBrk="0" hangingPunct="1">
              <a:spcBef>
                <a:spcPts val="0"/>
              </a:spcBef>
              <a:spcAft>
                <a:spcPts val="0"/>
              </a:spcAft>
              <a:buSzPct val="100000"/>
              <a:buFont typeface="Arial" panose="020B0604020202020204" pitchFamily="34" charset="0"/>
              <a:buChar char="•"/>
              <a:defRPr sz="1200" kern="1200">
                <a:solidFill>
                  <a:schemeClr val="tx1"/>
                </a:solidFill>
                <a:latin typeface="Lato Light" panose="020F0302020204030203" pitchFamily="34" charset="0"/>
                <a:ea typeface="+mn-ea"/>
                <a:cs typeface="Arial" panose="020B0604020202020204" pitchFamily="34" charset="0"/>
              </a:defRPr>
            </a:lvl5pPr>
            <a:lvl6pPr marL="432000" indent="-108000" algn="l" defTabSz="685800" rtl="0" eaLnBrk="1" latinLnBrk="0" hangingPunct="1">
              <a:spcBef>
                <a:spcPts val="0"/>
              </a:spcBef>
              <a:spcAft>
                <a:spcPts val="0"/>
              </a:spcAft>
              <a:buSzPct val="100000"/>
              <a:buFont typeface="Arial" panose="020B0604020202020204" pitchFamily="34" charset="0"/>
              <a:buChar char="•"/>
              <a:defRPr sz="1200" kern="1200">
                <a:solidFill>
                  <a:schemeClr val="tx1"/>
                </a:solidFill>
                <a:latin typeface="Lato Light" panose="020F0302020204030203" pitchFamily="34" charset="0"/>
                <a:ea typeface="+mn-ea"/>
                <a:cs typeface="Arial" panose="020B0604020202020204" pitchFamily="34" charset="0"/>
              </a:defRPr>
            </a:lvl6pPr>
            <a:lvl7pPr marL="432000" indent="-108000" algn="l" defTabSz="685800" rtl="0" eaLnBrk="1" latinLnBrk="0" hangingPunct="1">
              <a:spcBef>
                <a:spcPts val="0"/>
              </a:spcBef>
              <a:spcAft>
                <a:spcPts val="0"/>
              </a:spcAft>
              <a:buSzPct val="100000"/>
              <a:buFont typeface="Arial" panose="020B0604020202020204" pitchFamily="34" charset="0"/>
              <a:buChar char="•"/>
              <a:defRPr sz="1200" kern="1200">
                <a:solidFill>
                  <a:schemeClr val="tx1"/>
                </a:solidFill>
                <a:latin typeface="Lato Light" panose="020F0302020204030203" pitchFamily="34" charset="0"/>
                <a:ea typeface="+mn-ea"/>
                <a:cs typeface="Arial" panose="020B0604020202020204" pitchFamily="34" charset="0"/>
              </a:defRPr>
            </a:lvl7pPr>
            <a:lvl8pPr marL="432000" indent="-108000" algn="l" defTabSz="685800" rtl="0" eaLnBrk="1" latinLnBrk="0" hangingPunct="1">
              <a:spcBef>
                <a:spcPts val="0"/>
              </a:spcBef>
              <a:spcAft>
                <a:spcPts val="0"/>
              </a:spcAft>
              <a:buSzPct val="100000"/>
              <a:buFont typeface="Arial" panose="020B0604020202020204" pitchFamily="34" charset="0"/>
              <a:buChar char="•"/>
              <a:defRPr sz="1200" kern="1200">
                <a:solidFill>
                  <a:schemeClr val="tx1"/>
                </a:solidFill>
                <a:latin typeface="Lato Light" panose="020F0302020204030203" pitchFamily="34" charset="0"/>
                <a:ea typeface="+mn-ea"/>
                <a:cs typeface="Arial" panose="020B0604020202020204" pitchFamily="34" charset="0"/>
              </a:defRPr>
            </a:lvl8pPr>
            <a:lvl9pPr marL="432000" indent="-108000" algn="l" defTabSz="685800" rtl="0" eaLnBrk="1" latinLnBrk="0" hangingPunct="1">
              <a:spcBef>
                <a:spcPts val="0"/>
              </a:spcBef>
              <a:spcAft>
                <a:spcPts val="0"/>
              </a:spcAft>
              <a:buSzPct val="100000"/>
              <a:buFont typeface="Arial" panose="020B0604020202020204" pitchFamily="34" charset="0"/>
              <a:buChar char="•"/>
              <a:defRPr sz="1200" kern="1200" baseline="0">
                <a:solidFill>
                  <a:schemeClr val="tx1"/>
                </a:solidFill>
                <a:latin typeface="Lato Light" panose="020F0302020204030203" pitchFamily="34" charset="0"/>
                <a:ea typeface="+mn-ea"/>
                <a:cs typeface="Arial" panose="020B0604020202020204" pitchFamily="34" charset="0"/>
              </a:defRPr>
            </a:lvl9pPr>
          </a:lstStyle>
          <a:p>
            <a:pPr>
              <a:spcBef>
                <a:spcPct val="0"/>
              </a:spcBef>
              <a:spcAft>
                <a:spcPct val="0"/>
              </a:spcAft>
            </a:pPr>
            <a:r>
              <a:rPr lang="de-DE" sz="1000" dirty="0">
                <a:solidFill>
                  <a:schemeClr val="tx1"/>
                </a:solidFill>
              </a:rPr>
              <a:t>Helge Wolters</a:t>
            </a:r>
            <a:endParaRPr lang="de-DE" sz="1000" noProof="0" dirty="0">
              <a:latin typeface="+mn-lt"/>
              <a:cs typeface="+mn-cs"/>
              <a:sym typeface="+mn-lt"/>
            </a:endParaRPr>
          </a:p>
        </p:txBody>
      </p:sp>
      <p:sp>
        <p:nvSpPr>
          <p:cNvPr id="103" name="Textplatzhalter 2">
            <a:extLst>
              <a:ext uri="{FF2B5EF4-FFF2-40B4-BE49-F238E27FC236}">
                <a16:creationId xmlns:a16="http://schemas.microsoft.com/office/drawing/2014/main" id="{F9316DD7-EE02-4429-A81A-EDE26E4C84F6}"/>
              </a:ext>
            </a:extLst>
          </p:cNvPr>
          <p:cNvSpPr>
            <a:spLocks noGrp="1"/>
          </p:cNvSpPr>
          <p:nvPr>
            <p:custDataLst>
              <p:tags r:id="rId86"/>
            </p:custDataLst>
          </p:nvPr>
        </p:nvSpPr>
        <p:spPr bwMode="gray">
          <a:xfrm>
            <a:off x="385763" y="3328988"/>
            <a:ext cx="1433513"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0"/>
              </a:spcBef>
              <a:spcAft>
                <a:spcPts val="0"/>
              </a:spcAft>
              <a:buFont typeface="Arial" pitchFamily="34" charset="0"/>
              <a:buNone/>
              <a:defRPr sz="1600" kern="1200">
                <a:solidFill>
                  <a:schemeClr val="tx1"/>
                </a:solidFill>
                <a:latin typeface="+mn-lt"/>
                <a:ea typeface="+mn-ea"/>
                <a:cs typeface="+mn-cs"/>
              </a:defRPr>
            </a:lvl1pPr>
            <a:lvl2pPr marL="144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2pPr>
            <a:lvl3pPr marL="288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3pPr>
            <a:lvl4pPr marL="432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4pPr>
            <a:lvl5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5pPr>
            <a:lvl6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6pPr>
            <a:lvl7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7pPr>
            <a:lvl8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8pPr>
            <a:lvl9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9pPr>
          </a:lstStyle>
          <a:p>
            <a:pPr lvl="0">
              <a:spcBef>
                <a:spcPct val="0"/>
              </a:spcBef>
              <a:spcAft>
                <a:spcPct val="0"/>
              </a:spcAft>
              <a:defRPr/>
            </a:pPr>
            <a:r>
              <a:rPr lang="de-DE" sz="1000" dirty="0">
                <a:sym typeface="+mn-lt"/>
              </a:rPr>
              <a:t>Identifikation Maßnahmen</a:t>
            </a:r>
            <a:endParaRPr kumimoji="0" lang="de-DE" altLang="en-US" sz="1000" b="0" i="0" u="none" strike="noStrike" kern="1200" cap="none" spc="0" normalizeH="0" baseline="0" dirty="0">
              <a:ln>
                <a:noFill/>
              </a:ln>
              <a:solidFill>
                <a:prstClr val="black"/>
              </a:solidFill>
              <a:effectLst/>
              <a:uLnTx/>
              <a:uFillTx/>
              <a:sym typeface="+mn-lt"/>
            </a:endParaRPr>
          </a:p>
        </p:txBody>
      </p:sp>
      <p:sp>
        <p:nvSpPr>
          <p:cNvPr id="71" name="Textplatzhalter 2">
            <a:extLst>
              <a:ext uri="{FF2B5EF4-FFF2-40B4-BE49-F238E27FC236}">
                <a16:creationId xmlns:a16="http://schemas.microsoft.com/office/drawing/2014/main" id="{282C97EC-E743-4AEA-95F4-FDF56180D22E}"/>
              </a:ext>
            </a:extLst>
          </p:cNvPr>
          <p:cNvSpPr>
            <a:spLocks noGrp="1"/>
          </p:cNvSpPr>
          <p:nvPr>
            <p:custDataLst>
              <p:tags r:id="rId87"/>
            </p:custDataLst>
          </p:nvPr>
        </p:nvSpPr>
        <p:spPr bwMode="auto">
          <a:xfrm>
            <a:off x="10785475" y="2243138"/>
            <a:ext cx="841375"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685800" rtl="0" eaLnBrk="1" latinLnBrk="0" hangingPunct="1">
              <a:spcBef>
                <a:spcPts val="0"/>
              </a:spcBef>
              <a:spcAft>
                <a:spcPts val="0"/>
              </a:spcAft>
              <a:buFont typeface="Arial" pitchFamily="34" charset="0"/>
              <a:buNone/>
              <a:defRPr sz="1200" kern="1200">
                <a:solidFill>
                  <a:schemeClr val="tx1"/>
                </a:solidFill>
                <a:latin typeface="Lato Light" panose="020F0302020204030203" pitchFamily="34" charset="0"/>
                <a:ea typeface="+mn-ea"/>
                <a:cs typeface="Arial" panose="020B0604020202020204" pitchFamily="34" charset="0"/>
              </a:defRPr>
            </a:lvl1pPr>
            <a:lvl2pPr marL="108000" indent="-108000" algn="l" defTabSz="685800" rtl="0" eaLnBrk="1" latinLnBrk="0" hangingPunct="1">
              <a:spcBef>
                <a:spcPts val="0"/>
              </a:spcBef>
              <a:spcAft>
                <a:spcPts val="0"/>
              </a:spcAft>
              <a:buFont typeface="Arial" panose="020B0604020202020204" pitchFamily="34" charset="0"/>
              <a:buChar char="•"/>
              <a:defRPr sz="1200" kern="1200">
                <a:solidFill>
                  <a:schemeClr val="tx1"/>
                </a:solidFill>
                <a:latin typeface="Lato Light" panose="020F0302020204030203" pitchFamily="34" charset="0"/>
                <a:ea typeface="+mn-ea"/>
                <a:cs typeface="Arial" panose="020B0604020202020204" pitchFamily="34" charset="0"/>
              </a:defRPr>
            </a:lvl2pPr>
            <a:lvl3pPr marL="216000" indent="-108000" algn="l" defTabSz="685800" rtl="0" eaLnBrk="1" latinLnBrk="0" hangingPunct="1">
              <a:spcBef>
                <a:spcPts val="0"/>
              </a:spcBef>
              <a:spcAft>
                <a:spcPts val="0"/>
              </a:spcAft>
              <a:buFont typeface="Arial" panose="020B0604020202020204" pitchFamily="34" charset="0"/>
              <a:buChar char="•"/>
              <a:defRPr sz="1200" kern="1200">
                <a:solidFill>
                  <a:schemeClr val="tx1"/>
                </a:solidFill>
                <a:latin typeface="Lato Light" panose="020F0302020204030203" pitchFamily="34" charset="0"/>
                <a:ea typeface="+mn-ea"/>
                <a:cs typeface="Arial" panose="020B0604020202020204" pitchFamily="34" charset="0"/>
              </a:defRPr>
            </a:lvl3pPr>
            <a:lvl4pPr marL="324000" indent="-108000" algn="l" defTabSz="685800" rtl="0" eaLnBrk="1" latinLnBrk="0" hangingPunct="1">
              <a:spcBef>
                <a:spcPts val="0"/>
              </a:spcBef>
              <a:spcAft>
                <a:spcPts val="0"/>
              </a:spcAft>
              <a:buSzPct val="100000"/>
              <a:buFont typeface="Arial" panose="020B0604020202020204" pitchFamily="34" charset="0"/>
              <a:buChar char="•"/>
              <a:defRPr sz="1200" kern="1200">
                <a:solidFill>
                  <a:schemeClr val="tx1"/>
                </a:solidFill>
                <a:latin typeface="Lato Light" panose="020F0302020204030203" pitchFamily="34" charset="0"/>
                <a:ea typeface="+mn-ea"/>
                <a:cs typeface="Arial" panose="020B0604020202020204" pitchFamily="34" charset="0"/>
              </a:defRPr>
            </a:lvl4pPr>
            <a:lvl5pPr marL="432000" indent="-108000" algn="l" defTabSz="685800" rtl="0" eaLnBrk="1" latinLnBrk="0" hangingPunct="1">
              <a:spcBef>
                <a:spcPts val="0"/>
              </a:spcBef>
              <a:spcAft>
                <a:spcPts val="0"/>
              </a:spcAft>
              <a:buSzPct val="100000"/>
              <a:buFont typeface="Arial" panose="020B0604020202020204" pitchFamily="34" charset="0"/>
              <a:buChar char="•"/>
              <a:defRPr sz="1200" kern="1200">
                <a:solidFill>
                  <a:schemeClr val="tx1"/>
                </a:solidFill>
                <a:latin typeface="Lato Light" panose="020F0302020204030203" pitchFamily="34" charset="0"/>
                <a:ea typeface="+mn-ea"/>
                <a:cs typeface="Arial" panose="020B0604020202020204" pitchFamily="34" charset="0"/>
              </a:defRPr>
            </a:lvl5pPr>
            <a:lvl6pPr marL="432000" indent="-108000" algn="l" defTabSz="685800" rtl="0" eaLnBrk="1" latinLnBrk="0" hangingPunct="1">
              <a:spcBef>
                <a:spcPts val="0"/>
              </a:spcBef>
              <a:spcAft>
                <a:spcPts val="0"/>
              </a:spcAft>
              <a:buSzPct val="100000"/>
              <a:buFont typeface="Arial" panose="020B0604020202020204" pitchFamily="34" charset="0"/>
              <a:buChar char="•"/>
              <a:defRPr sz="1200" kern="1200">
                <a:solidFill>
                  <a:schemeClr val="tx1"/>
                </a:solidFill>
                <a:latin typeface="Lato Light" panose="020F0302020204030203" pitchFamily="34" charset="0"/>
                <a:ea typeface="+mn-ea"/>
                <a:cs typeface="Arial" panose="020B0604020202020204" pitchFamily="34" charset="0"/>
              </a:defRPr>
            </a:lvl6pPr>
            <a:lvl7pPr marL="432000" indent="-108000" algn="l" defTabSz="685800" rtl="0" eaLnBrk="1" latinLnBrk="0" hangingPunct="1">
              <a:spcBef>
                <a:spcPts val="0"/>
              </a:spcBef>
              <a:spcAft>
                <a:spcPts val="0"/>
              </a:spcAft>
              <a:buSzPct val="100000"/>
              <a:buFont typeface="Arial" panose="020B0604020202020204" pitchFamily="34" charset="0"/>
              <a:buChar char="•"/>
              <a:defRPr sz="1200" kern="1200">
                <a:solidFill>
                  <a:schemeClr val="tx1"/>
                </a:solidFill>
                <a:latin typeface="Lato Light" panose="020F0302020204030203" pitchFamily="34" charset="0"/>
                <a:ea typeface="+mn-ea"/>
                <a:cs typeface="Arial" panose="020B0604020202020204" pitchFamily="34" charset="0"/>
              </a:defRPr>
            </a:lvl7pPr>
            <a:lvl8pPr marL="432000" indent="-108000" algn="l" defTabSz="685800" rtl="0" eaLnBrk="1" latinLnBrk="0" hangingPunct="1">
              <a:spcBef>
                <a:spcPts val="0"/>
              </a:spcBef>
              <a:spcAft>
                <a:spcPts val="0"/>
              </a:spcAft>
              <a:buSzPct val="100000"/>
              <a:buFont typeface="Arial" panose="020B0604020202020204" pitchFamily="34" charset="0"/>
              <a:buChar char="•"/>
              <a:defRPr sz="1200" kern="1200">
                <a:solidFill>
                  <a:schemeClr val="tx1"/>
                </a:solidFill>
                <a:latin typeface="Lato Light" panose="020F0302020204030203" pitchFamily="34" charset="0"/>
                <a:ea typeface="+mn-ea"/>
                <a:cs typeface="Arial" panose="020B0604020202020204" pitchFamily="34" charset="0"/>
              </a:defRPr>
            </a:lvl8pPr>
            <a:lvl9pPr marL="432000" indent="-108000" algn="l" defTabSz="685800" rtl="0" eaLnBrk="1" latinLnBrk="0" hangingPunct="1">
              <a:spcBef>
                <a:spcPts val="0"/>
              </a:spcBef>
              <a:spcAft>
                <a:spcPts val="0"/>
              </a:spcAft>
              <a:buSzPct val="100000"/>
              <a:buFont typeface="Arial" panose="020B0604020202020204" pitchFamily="34" charset="0"/>
              <a:buChar char="•"/>
              <a:defRPr sz="1200" kern="1200" baseline="0">
                <a:solidFill>
                  <a:schemeClr val="tx1"/>
                </a:solidFill>
                <a:latin typeface="Lato Light" panose="020F0302020204030203" pitchFamily="34" charset="0"/>
                <a:ea typeface="+mn-ea"/>
                <a:cs typeface="Arial" panose="020B0604020202020204" pitchFamily="34" charset="0"/>
              </a:defRPr>
            </a:lvl9pPr>
          </a:lstStyle>
          <a:p>
            <a:r>
              <a:rPr lang="de-DE" sz="1000" dirty="0"/>
              <a:t>Tobias Schmied</a:t>
            </a:r>
          </a:p>
        </p:txBody>
      </p:sp>
      <p:sp>
        <p:nvSpPr>
          <p:cNvPr id="80" name="Textplatzhalter 2">
            <a:extLst>
              <a:ext uri="{FF2B5EF4-FFF2-40B4-BE49-F238E27FC236}">
                <a16:creationId xmlns:a16="http://schemas.microsoft.com/office/drawing/2014/main" id="{7C36A80D-521E-484E-86DE-83917F87DB3D}"/>
              </a:ext>
            </a:extLst>
          </p:cNvPr>
          <p:cNvSpPr>
            <a:spLocks noGrp="1"/>
          </p:cNvSpPr>
          <p:nvPr>
            <p:custDataLst>
              <p:tags r:id="rId88"/>
            </p:custDataLst>
          </p:nvPr>
        </p:nvSpPr>
        <p:spPr bwMode="gray">
          <a:xfrm>
            <a:off x="385763" y="3576638"/>
            <a:ext cx="1393825"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0"/>
              </a:spcBef>
              <a:spcAft>
                <a:spcPts val="0"/>
              </a:spcAft>
              <a:buFont typeface="Arial" pitchFamily="34" charset="0"/>
              <a:buNone/>
              <a:defRPr sz="1600" kern="1200">
                <a:solidFill>
                  <a:schemeClr val="tx1"/>
                </a:solidFill>
                <a:latin typeface="+mn-lt"/>
                <a:ea typeface="+mn-ea"/>
                <a:cs typeface="+mn-cs"/>
              </a:defRPr>
            </a:lvl1pPr>
            <a:lvl2pPr marL="144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2pPr>
            <a:lvl3pPr marL="288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3pPr>
            <a:lvl4pPr marL="432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4pPr>
            <a:lvl5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5pPr>
            <a:lvl6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6pPr>
            <a:lvl7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7pPr>
            <a:lvl8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8pPr>
            <a:lvl9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9pPr>
          </a:lstStyle>
          <a:p>
            <a:pPr lvl="0">
              <a:spcBef>
                <a:spcPct val="0"/>
              </a:spcBef>
              <a:spcAft>
                <a:spcPct val="0"/>
              </a:spcAft>
              <a:defRPr/>
            </a:pPr>
            <a:r>
              <a:rPr lang="de-DE" altLang="en-US" sz="1000" dirty="0">
                <a:solidFill>
                  <a:srgbClr val="000000"/>
                </a:solidFill>
              </a:rPr>
              <a:t>Abstimmung Maßnahmen</a:t>
            </a:r>
            <a:endParaRPr kumimoji="0" lang="de-DE" altLang="en-US" sz="1000" b="0" i="0" strike="noStrike" kern="1200" spc="0" normalizeH="0" dirty="0">
              <a:ln>
                <a:noFill/>
              </a:ln>
              <a:solidFill>
                <a:srgbClr val="000000"/>
              </a:solidFill>
              <a:effectLst/>
              <a:uLnTx/>
              <a:uFillTx/>
              <a:sym typeface="+mn-lt"/>
            </a:endParaRPr>
          </a:p>
        </p:txBody>
      </p:sp>
      <p:sp>
        <p:nvSpPr>
          <p:cNvPr id="87" name="Textplatzhalter 2">
            <a:extLst>
              <a:ext uri="{FF2B5EF4-FFF2-40B4-BE49-F238E27FC236}">
                <a16:creationId xmlns:a16="http://schemas.microsoft.com/office/drawing/2014/main" id="{471EF7B8-9BDC-44F2-8E41-BC53C43DC003}"/>
              </a:ext>
            </a:extLst>
          </p:cNvPr>
          <p:cNvSpPr>
            <a:spLocks noGrp="1"/>
          </p:cNvSpPr>
          <p:nvPr>
            <p:custDataLst>
              <p:tags r:id="rId89"/>
            </p:custDataLst>
          </p:nvPr>
        </p:nvSpPr>
        <p:spPr bwMode="auto">
          <a:xfrm>
            <a:off x="10785475" y="3576638"/>
            <a:ext cx="731838"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685800" rtl="0" eaLnBrk="1" latinLnBrk="0" hangingPunct="1">
              <a:spcBef>
                <a:spcPts val="0"/>
              </a:spcBef>
              <a:spcAft>
                <a:spcPts val="0"/>
              </a:spcAft>
              <a:buFont typeface="Arial" pitchFamily="34" charset="0"/>
              <a:buNone/>
              <a:defRPr sz="1200" kern="1200">
                <a:solidFill>
                  <a:schemeClr val="tx1"/>
                </a:solidFill>
                <a:latin typeface="Lato Light" panose="020F0302020204030203" pitchFamily="34" charset="0"/>
                <a:ea typeface="+mn-ea"/>
                <a:cs typeface="Arial" panose="020B0604020202020204" pitchFamily="34" charset="0"/>
              </a:defRPr>
            </a:lvl1pPr>
            <a:lvl2pPr marL="108000" indent="-108000" algn="l" defTabSz="685800" rtl="0" eaLnBrk="1" latinLnBrk="0" hangingPunct="1">
              <a:spcBef>
                <a:spcPts val="0"/>
              </a:spcBef>
              <a:spcAft>
                <a:spcPts val="0"/>
              </a:spcAft>
              <a:buFont typeface="Arial" panose="020B0604020202020204" pitchFamily="34" charset="0"/>
              <a:buChar char="•"/>
              <a:defRPr sz="1200" kern="1200">
                <a:solidFill>
                  <a:schemeClr val="tx1"/>
                </a:solidFill>
                <a:latin typeface="Lato Light" panose="020F0302020204030203" pitchFamily="34" charset="0"/>
                <a:ea typeface="+mn-ea"/>
                <a:cs typeface="Arial" panose="020B0604020202020204" pitchFamily="34" charset="0"/>
              </a:defRPr>
            </a:lvl2pPr>
            <a:lvl3pPr marL="216000" indent="-108000" algn="l" defTabSz="685800" rtl="0" eaLnBrk="1" latinLnBrk="0" hangingPunct="1">
              <a:spcBef>
                <a:spcPts val="0"/>
              </a:spcBef>
              <a:spcAft>
                <a:spcPts val="0"/>
              </a:spcAft>
              <a:buFont typeface="Arial" panose="020B0604020202020204" pitchFamily="34" charset="0"/>
              <a:buChar char="•"/>
              <a:defRPr sz="1200" kern="1200">
                <a:solidFill>
                  <a:schemeClr val="tx1"/>
                </a:solidFill>
                <a:latin typeface="Lato Light" panose="020F0302020204030203" pitchFamily="34" charset="0"/>
                <a:ea typeface="+mn-ea"/>
                <a:cs typeface="Arial" panose="020B0604020202020204" pitchFamily="34" charset="0"/>
              </a:defRPr>
            </a:lvl3pPr>
            <a:lvl4pPr marL="324000" indent="-108000" algn="l" defTabSz="685800" rtl="0" eaLnBrk="1" latinLnBrk="0" hangingPunct="1">
              <a:spcBef>
                <a:spcPts val="0"/>
              </a:spcBef>
              <a:spcAft>
                <a:spcPts val="0"/>
              </a:spcAft>
              <a:buSzPct val="100000"/>
              <a:buFont typeface="Arial" panose="020B0604020202020204" pitchFamily="34" charset="0"/>
              <a:buChar char="•"/>
              <a:defRPr sz="1200" kern="1200">
                <a:solidFill>
                  <a:schemeClr val="tx1"/>
                </a:solidFill>
                <a:latin typeface="Lato Light" panose="020F0302020204030203" pitchFamily="34" charset="0"/>
                <a:ea typeface="+mn-ea"/>
                <a:cs typeface="Arial" panose="020B0604020202020204" pitchFamily="34" charset="0"/>
              </a:defRPr>
            </a:lvl4pPr>
            <a:lvl5pPr marL="432000" indent="-108000" algn="l" defTabSz="685800" rtl="0" eaLnBrk="1" latinLnBrk="0" hangingPunct="1">
              <a:spcBef>
                <a:spcPts val="0"/>
              </a:spcBef>
              <a:spcAft>
                <a:spcPts val="0"/>
              </a:spcAft>
              <a:buSzPct val="100000"/>
              <a:buFont typeface="Arial" panose="020B0604020202020204" pitchFamily="34" charset="0"/>
              <a:buChar char="•"/>
              <a:defRPr sz="1200" kern="1200">
                <a:solidFill>
                  <a:schemeClr val="tx1"/>
                </a:solidFill>
                <a:latin typeface="Lato Light" panose="020F0302020204030203" pitchFamily="34" charset="0"/>
                <a:ea typeface="+mn-ea"/>
                <a:cs typeface="Arial" panose="020B0604020202020204" pitchFamily="34" charset="0"/>
              </a:defRPr>
            </a:lvl5pPr>
            <a:lvl6pPr marL="432000" indent="-108000" algn="l" defTabSz="685800" rtl="0" eaLnBrk="1" latinLnBrk="0" hangingPunct="1">
              <a:spcBef>
                <a:spcPts val="0"/>
              </a:spcBef>
              <a:spcAft>
                <a:spcPts val="0"/>
              </a:spcAft>
              <a:buSzPct val="100000"/>
              <a:buFont typeface="Arial" panose="020B0604020202020204" pitchFamily="34" charset="0"/>
              <a:buChar char="•"/>
              <a:defRPr sz="1200" kern="1200">
                <a:solidFill>
                  <a:schemeClr val="tx1"/>
                </a:solidFill>
                <a:latin typeface="Lato Light" panose="020F0302020204030203" pitchFamily="34" charset="0"/>
                <a:ea typeface="+mn-ea"/>
                <a:cs typeface="Arial" panose="020B0604020202020204" pitchFamily="34" charset="0"/>
              </a:defRPr>
            </a:lvl6pPr>
            <a:lvl7pPr marL="432000" indent="-108000" algn="l" defTabSz="685800" rtl="0" eaLnBrk="1" latinLnBrk="0" hangingPunct="1">
              <a:spcBef>
                <a:spcPts val="0"/>
              </a:spcBef>
              <a:spcAft>
                <a:spcPts val="0"/>
              </a:spcAft>
              <a:buSzPct val="100000"/>
              <a:buFont typeface="Arial" panose="020B0604020202020204" pitchFamily="34" charset="0"/>
              <a:buChar char="•"/>
              <a:defRPr sz="1200" kern="1200">
                <a:solidFill>
                  <a:schemeClr val="tx1"/>
                </a:solidFill>
                <a:latin typeface="Lato Light" panose="020F0302020204030203" pitchFamily="34" charset="0"/>
                <a:ea typeface="+mn-ea"/>
                <a:cs typeface="Arial" panose="020B0604020202020204" pitchFamily="34" charset="0"/>
              </a:defRPr>
            </a:lvl7pPr>
            <a:lvl8pPr marL="432000" indent="-108000" algn="l" defTabSz="685800" rtl="0" eaLnBrk="1" latinLnBrk="0" hangingPunct="1">
              <a:spcBef>
                <a:spcPts val="0"/>
              </a:spcBef>
              <a:spcAft>
                <a:spcPts val="0"/>
              </a:spcAft>
              <a:buSzPct val="100000"/>
              <a:buFont typeface="Arial" panose="020B0604020202020204" pitchFamily="34" charset="0"/>
              <a:buChar char="•"/>
              <a:defRPr sz="1200" kern="1200">
                <a:solidFill>
                  <a:schemeClr val="tx1"/>
                </a:solidFill>
                <a:latin typeface="Lato Light" panose="020F0302020204030203" pitchFamily="34" charset="0"/>
                <a:ea typeface="+mn-ea"/>
                <a:cs typeface="Arial" panose="020B0604020202020204" pitchFamily="34" charset="0"/>
              </a:defRPr>
            </a:lvl8pPr>
            <a:lvl9pPr marL="432000" indent="-108000" algn="l" defTabSz="685800" rtl="0" eaLnBrk="1" latinLnBrk="0" hangingPunct="1">
              <a:spcBef>
                <a:spcPts val="0"/>
              </a:spcBef>
              <a:spcAft>
                <a:spcPts val="0"/>
              </a:spcAft>
              <a:buSzPct val="100000"/>
              <a:buFont typeface="Arial" panose="020B0604020202020204" pitchFamily="34" charset="0"/>
              <a:buChar char="•"/>
              <a:defRPr sz="1200" kern="1200" baseline="0">
                <a:solidFill>
                  <a:schemeClr val="tx1"/>
                </a:solidFill>
                <a:latin typeface="Lato Light" panose="020F0302020204030203" pitchFamily="34" charset="0"/>
                <a:ea typeface="+mn-ea"/>
                <a:cs typeface="Arial" panose="020B0604020202020204" pitchFamily="34" charset="0"/>
              </a:defRPr>
            </a:lvl9pPr>
          </a:lstStyle>
          <a:p>
            <a:pPr>
              <a:spcBef>
                <a:spcPct val="0"/>
              </a:spcBef>
              <a:spcAft>
                <a:spcPct val="0"/>
              </a:spcAft>
            </a:pPr>
            <a:r>
              <a:rPr lang="de-DE" altLang="en-US" sz="1000" dirty="0">
                <a:cs typeface="+mn-cs"/>
              </a:rPr>
              <a:t>Maike Hinsch</a:t>
            </a:r>
            <a:endParaRPr lang="de-DE" sz="1000" noProof="0" dirty="0">
              <a:latin typeface="+mn-lt"/>
              <a:cs typeface="+mn-cs"/>
              <a:sym typeface="+mn-lt"/>
            </a:endParaRPr>
          </a:p>
        </p:txBody>
      </p:sp>
      <p:sp useBgFill="1">
        <p:nvSpPr>
          <p:cNvPr id="78" name="Textplatzhalter 2">
            <a:extLst>
              <a:ext uri="{FF2B5EF4-FFF2-40B4-BE49-F238E27FC236}">
                <a16:creationId xmlns:a16="http://schemas.microsoft.com/office/drawing/2014/main" id="{ED52382E-5829-41A8-882E-9B1974DA4051}"/>
              </a:ext>
            </a:extLst>
          </p:cNvPr>
          <p:cNvSpPr>
            <a:spLocks noGrp="1"/>
          </p:cNvSpPr>
          <p:nvPr>
            <p:custDataLst>
              <p:tags r:id="rId90"/>
            </p:custDataLst>
          </p:nvPr>
        </p:nvSpPr>
        <p:spPr bwMode="gray">
          <a:xfrm>
            <a:off x="2606675" y="6013450"/>
            <a:ext cx="655638" cy="152400"/>
          </a:xfrm>
          <a:prstGeom prst="rect">
            <a:avLst/>
          </a:prstGeom>
          <a:ln>
            <a:noFill/>
          </a:ln>
        </p:spPr>
        <p:txBody>
          <a:bodyPr vert="horz" wrap="none" lIns="0" tIns="0" rIns="0" bIns="0" numCol="1" spcCol="0" rtlCol="0" anchor="t" anchorCtr="0">
            <a:noAutofit/>
          </a:bodyPr>
          <a:lstStyle>
            <a:lvl1pPr marL="0" indent="0" algn="l" defTabSz="914400" rtl="0" eaLnBrk="1" latinLnBrk="0" hangingPunct="1">
              <a:spcBef>
                <a:spcPts val="0"/>
              </a:spcBef>
              <a:spcAft>
                <a:spcPts val="0"/>
              </a:spcAft>
              <a:buFont typeface="Arial" pitchFamily="34" charset="0"/>
              <a:buNone/>
              <a:defRPr sz="1600" kern="1200">
                <a:solidFill>
                  <a:schemeClr val="tx1"/>
                </a:solidFill>
                <a:latin typeface="+mn-lt"/>
                <a:ea typeface="+mn-ea"/>
                <a:cs typeface="+mn-cs"/>
              </a:defRPr>
            </a:lvl1pPr>
            <a:lvl2pPr marL="144000" indent="-144000" algn="l" defTabSz="914400" rtl="0" eaLnBrk="1" latinLnBrk="0" hangingPunct="1">
              <a:spcBef>
                <a:spcPts val="0"/>
              </a:spcBef>
              <a:spcAft>
                <a:spcPts val="0"/>
              </a:spcAft>
              <a:buClr>
                <a:schemeClr val="tx2"/>
              </a:buClr>
              <a:buFont typeface="Wingdings" panose="05000000000000000000" pitchFamily="2" charset="2"/>
              <a:buChar char="§"/>
              <a:defRPr sz="1600" kern="1200">
                <a:solidFill>
                  <a:schemeClr val="tx1"/>
                </a:solidFill>
                <a:latin typeface="+mn-lt"/>
                <a:ea typeface="+mn-ea"/>
                <a:cs typeface="+mn-cs"/>
              </a:defRPr>
            </a:lvl2pPr>
            <a:lvl3pPr marL="288000" indent="-144000" algn="l" defTabSz="914400" rtl="0" eaLnBrk="1" latinLnBrk="0" hangingPunct="1">
              <a:spcBef>
                <a:spcPts val="0"/>
              </a:spcBef>
              <a:spcAft>
                <a:spcPts val="0"/>
              </a:spcAft>
              <a:buFont typeface="Symbol" panose="05050102010706020507" pitchFamily="18" charset="2"/>
              <a:buChar char="-"/>
              <a:defRPr sz="1600" kern="1200">
                <a:solidFill>
                  <a:schemeClr val="tx1"/>
                </a:solidFill>
                <a:latin typeface="+mn-lt"/>
                <a:ea typeface="+mn-ea"/>
                <a:cs typeface="+mn-cs"/>
              </a:defRPr>
            </a:lvl3pPr>
            <a:lvl4pPr marL="432000" indent="-144000" algn="l" defTabSz="914400" rtl="0" eaLnBrk="1" latinLnBrk="0" hangingPunct="1">
              <a:spcBef>
                <a:spcPts val="0"/>
              </a:spcBef>
              <a:spcAft>
                <a:spcPts val="0"/>
              </a:spcAft>
              <a:buSzPct val="100000"/>
              <a:buFont typeface="Symbol" panose="05050102010706020507" pitchFamily="18" charset="2"/>
              <a:buChar char="-"/>
              <a:defRPr sz="1600" kern="1200">
                <a:solidFill>
                  <a:schemeClr val="tx1"/>
                </a:solidFill>
                <a:latin typeface="+mn-lt"/>
                <a:ea typeface="+mn-ea"/>
                <a:cs typeface="+mn-cs"/>
              </a:defRPr>
            </a:lvl4pPr>
            <a:lvl5pPr marL="576000" indent="-144000" algn="l" defTabSz="914400" rtl="0" eaLnBrk="1" latinLnBrk="0" hangingPunct="1">
              <a:spcBef>
                <a:spcPts val="0"/>
              </a:spcBef>
              <a:spcAft>
                <a:spcPts val="0"/>
              </a:spcAft>
              <a:buSzPct val="100000"/>
              <a:buFont typeface="Symbol" panose="05050102010706020507" pitchFamily="18" charset="2"/>
              <a:buChar char="-"/>
              <a:defRPr sz="1600" kern="1200">
                <a:solidFill>
                  <a:schemeClr val="tx1"/>
                </a:solidFill>
                <a:latin typeface="+mn-lt"/>
                <a:ea typeface="+mn-ea"/>
                <a:cs typeface="+mn-cs"/>
              </a:defRPr>
            </a:lvl5pPr>
            <a:lvl6pPr marL="576000" indent="-144000" algn="l" defTabSz="914400" rtl="0" eaLnBrk="1" latinLnBrk="0" hangingPunct="1">
              <a:spcBef>
                <a:spcPts val="0"/>
              </a:spcBef>
              <a:spcAft>
                <a:spcPts val="0"/>
              </a:spcAft>
              <a:buSzPct val="100000"/>
              <a:buFont typeface="Symbol" panose="05050102010706020507" pitchFamily="18" charset="2"/>
              <a:buChar char="-"/>
              <a:defRPr sz="1600" kern="1200">
                <a:solidFill>
                  <a:schemeClr val="tx1"/>
                </a:solidFill>
                <a:latin typeface="+mn-lt"/>
                <a:ea typeface="+mn-ea"/>
                <a:cs typeface="+mn-cs"/>
              </a:defRPr>
            </a:lvl6pPr>
            <a:lvl7pPr marL="576000" indent="-144000" algn="l" defTabSz="914400" rtl="0" eaLnBrk="1" latinLnBrk="0" hangingPunct="1">
              <a:spcBef>
                <a:spcPts val="0"/>
              </a:spcBef>
              <a:spcAft>
                <a:spcPts val="0"/>
              </a:spcAft>
              <a:buSzPct val="100000"/>
              <a:buFont typeface="Symbol" panose="05050102010706020507" pitchFamily="18" charset="2"/>
              <a:buChar char="-"/>
              <a:defRPr sz="1600" kern="1200">
                <a:solidFill>
                  <a:schemeClr val="tx1"/>
                </a:solidFill>
                <a:latin typeface="+mn-lt"/>
                <a:ea typeface="+mn-ea"/>
                <a:cs typeface="+mn-cs"/>
              </a:defRPr>
            </a:lvl7pPr>
            <a:lvl8pPr marL="576000" indent="-144000" algn="l" defTabSz="914400" rtl="0" eaLnBrk="1" latinLnBrk="0" hangingPunct="1">
              <a:spcBef>
                <a:spcPts val="0"/>
              </a:spcBef>
              <a:spcAft>
                <a:spcPts val="0"/>
              </a:spcAft>
              <a:buSzPct val="100000"/>
              <a:buFont typeface="Symbol" panose="05050102010706020507" pitchFamily="18" charset="2"/>
              <a:buChar char="-"/>
              <a:defRPr sz="1600" kern="1200">
                <a:solidFill>
                  <a:schemeClr val="tx1"/>
                </a:solidFill>
                <a:latin typeface="+mn-lt"/>
                <a:ea typeface="+mn-ea"/>
                <a:cs typeface="+mn-cs"/>
              </a:defRPr>
            </a:lvl8pPr>
            <a:lvl9pPr marL="576000" indent="-144000" algn="l" defTabSz="914400" rtl="0" eaLnBrk="1" latinLnBrk="0" hangingPunct="1">
              <a:spcBef>
                <a:spcPts val="0"/>
              </a:spcBef>
              <a:spcAft>
                <a:spcPts val="0"/>
              </a:spcAft>
              <a:buSzPct val="100000"/>
              <a:buFont typeface="Symbol" panose="05050102010706020507" pitchFamily="18" charset="2"/>
              <a:buChar char="-"/>
              <a:defRPr sz="1600" kern="1200" baseline="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Tx/>
              <a:buFont typeface="Arial" pitchFamily="34" charset="0"/>
              <a:buNone/>
              <a:tabLst/>
              <a:defRPr/>
            </a:pPr>
            <a:r>
              <a:rPr kumimoji="0" lang="de-DE" sz="1000" b="0" i="0" u="none" strike="noStrike" kern="1200" cap="none" spc="0" normalizeH="0" baseline="0" dirty="0">
                <a:ln>
                  <a:noFill/>
                </a:ln>
                <a:solidFill>
                  <a:prstClr val="black"/>
                </a:solidFill>
                <a:effectLst/>
                <a:uLnTx/>
                <a:uFillTx/>
                <a:sym typeface="+mn-lt"/>
              </a:rPr>
              <a:t>Projektstart</a:t>
            </a:r>
          </a:p>
        </p:txBody>
      </p:sp>
      <p:sp>
        <p:nvSpPr>
          <p:cNvPr id="102" name="Textplatzhalter 2">
            <a:extLst>
              <a:ext uri="{FF2B5EF4-FFF2-40B4-BE49-F238E27FC236}">
                <a16:creationId xmlns:a16="http://schemas.microsoft.com/office/drawing/2014/main" id="{624DEE4C-E43E-4E1D-BCF4-50D12BDEDC0F}"/>
              </a:ext>
            </a:extLst>
          </p:cNvPr>
          <p:cNvSpPr>
            <a:spLocks noGrp="1"/>
          </p:cNvSpPr>
          <p:nvPr>
            <p:custDataLst>
              <p:tags r:id="rId91"/>
            </p:custDataLst>
          </p:nvPr>
        </p:nvSpPr>
        <p:spPr bwMode="auto">
          <a:xfrm>
            <a:off x="385763" y="3870325"/>
            <a:ext cx="676275"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0"/>
              </a:spcBef>
              <a:spcAft>
                <a:spcPts val="0"/>
              </a:spcAft>
              <a:buFont typeface="Arial" pitchFamily="34" charset="0"/>
              <a:buNone/>
              <a:defRPr sz="1600" kern="1200">
                <a:solidFill>
                  <a:schemeClr val="tx1"/>
                </a:solidFill>
                <a:latin typeface="+mn-lt"/>
                <a:ea typeface="+mn-ea"/>
                <a:cs typeface="+mn-cs"/>
              </a:defRPr>
            </a:lvl1pPr>
            <a:lvl2pPr marL="144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2pPr>
            <a:lvl3pPr marL="288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3pPr>
            <a:lvl4pPr marL="432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4pPr>
            <a:lvl5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5pPr>
            <a:lvl6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6pPr>
            <a:lvl7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7pPr>
            <a:lvl8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8pPr>
            <a:lvl9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Tx/>
              <a:buFont typeface="Arial" pitchFamily="34" charset="0"/>
              <a:buNone/>
              <a:tabLst/>
              <a:defRPr/>
            </a:pPr>
            <a:r>
              <a:rPr kumimoji="0" lang="de-DE" altLang="en-US" sz="1000" b="1" i="0" u="none" strike="noStrike" kern="1200" cap="none" spc="0" normalizeH="0" baseline="0" dirty="0">
                <a:ln>
                  <a:noFill/>
                </a:ln>
                <a:effectLst/>
                <a:uLnTx/>
                <a:uFillTx/>
                <a:sym typeface="+mn-lt"/>
              </a:rPr>
              <a:t>Teilprojekt 2</a:t>
            </a:r>
            <a:endParaRPr kumimoji="0" lang="de-DE" sz="1000" b="1" i="0" u="none" strike="noStrike" kern="1200" cap="none" spc="0" normalizeH="0" baseline="0" dirty="0">
              <a:ln>
                <a:noFill/>
              </a:ln>
              <a:effectLst/>
              <a:uLnTx/>
              <a:uFillTx/>
              <a:sym typeface="+mn-lt"/>
            </a:endParaRPr>
          </a:p>
        </p:txBody>
      </p:sp>
      <p:sp useBgFill="1">
        <p:nvSpPr>
          <p:cNvPr id="133" name="Textplatzhalter 2">
            <a:extLst>
              <a:ext uri="{FF2B5EF4-FFF2-40B4-BE49-F238E27FC236}">
                <a16:creationId xmlns:a16="http://schemas.microsoft.com/office/drawing/2014/main" id="{76319BAD-7634-4CD1-9DB4-0A1C2805317E}"/>
              </a:ext>
            </a:extLst>
          </p:cNvPr>
          <p:cNvSpPr>
            <a:spLocks noGrp="1"/>
          </p:cNvSpPr>
          <p:nvPr>
            <p:custDataLst>
              <p:tags r:id="rId92"/>
            </p:custDataLst>
          </p:nvPr>
        </p:nvSpPr>
        <p:spPr bwMode="auto">
          <a:xfrm>
            <a:off x="10006013" y="5402263"/>
            <a:ext cx="342900" cy="152400"/>
          </a:xfrm>
          <a:prstGeom prst="rect">
            <a:avLst/>
          </a:prstGeom>
          <a:ln>
            <a:noFill/>
          </a:ln>
        </p:spPr>
        <p:txBody>
          <a:bodyPr vert="horz" wrap="none" lIns="0" tIns="0" rIns="0" bIns="0" numCol="1" spcCol="0" rtlCol="0" anchor="t" anchorCtr="0">
            <a:noAutofit/>
          </a:bodyPr>
          <a:lstStyle>
            <a:lvl1pPr marL="0" indent="0" algn="l" defTabSz="685800" rtl="0" eaLnBrk="1" latinLnBrk="0" hangingPunct="1">
              <a:spcBef>
                <a:spcPts val="0"/>
              </a:spcBef>
              <a:spcAft>
                <a:spcPts val="0"/>
              </a:spcAft>
              <a:buFont typeface="Arial" pitchFamily="34" charset="0"/>
              <a:buNone/>
              <a:defRPr sz="1200" kern="1200">
                <a:solidFill>
                  <a:schemeClr val="tx1"/>
                </a:solidFill>
                <a:latin typeface="Lato Light" panose="020F0302020204030203" pitchFamily="34" charset="0"/>
                <a:ea typeface="+mn-ea"/>
                <a:cs typeface="Arial" panose="020B0604020202020204" pitchFamily="34" charset="0"/>
              </a:defRPr>
            </a:lvl1pPr>
            <a:lvl2pPr marL="108000" indent="-108000" algn="l" defTabSz="685800" rtl="0" eaLnBrk="1" latinLnBrk="0" hangingPunct="1">
              <a:spcBef>
                <a:spcPts val="0"/>
              </a:spcBef>
              <a:spcAft>
                <a:spcPts val="0"/>
              </a:spcAft>
              <a:buFont typeface="Arial" panose="020B0604020202020204" pitchFamily="34" charset="0"/>
              <a:buChar char="•"/>
              <a:defRPr sz="1200" kern="1200">
                <a:solidFill>
                  <a:schemeClr val="tx1"/>
                </a:solidFill>
                <a:latin typeface="Lato Light" panose="020F0302020204030203" pitchFamily="34" charset="0"/>
                <a:ea typeface="+mn-ea"/>
                <a:cs typeface="Arial" panose="020B0604020202020204" pitchFamily="34" charset="0"/>
              </a:defRPr>
            </a:lvl2pPr>
            <a:lvl3pPr marL="216000" indent="-108000" algn="l" defTabSz="685800" rtl="0" eaLnBrk="1" latinLnBrk="0" hangingPunct="1">
              <a:spcBef>
                <a:spcPts val="0"/>
              </a:spcBef>
              <a:spcAft>
                <a:spcPts val="0"/>
              </a:spcAft>
              <a:buFont typeface="Arial" panose="020B0604020202020204" pitchFamily="34" charset="0"/>
              <a:buChar char="•"/>
              <a:defRPr sz="1200" kern="1200">
                <a:solidFill>
                  <a:schemeClr val="tx1"/>
                </a:solidFill>
                <a:latin typeface="Lato Light" panose="020F0302020204030203" pitchFamily="34" charset="0"/>
                <a:ea typeface="+mn-ea"/>
                <a:cs typeface="Arial" panose="020B0604020202020204" pitchFamily="34" charset="0"/>
              </a:defRPr>
            </a:lvl3pPr>
            <a:lvl4pPr marL="324000" indent="-108000" algn="l" defTabSz="685800" rtl="0" eaLnBrk="1" latinLnBrk="0" hangingPunct="1">
              <a:spcBef>
                <a:spcPts val="0"/>
              </a:spcBef>
              <a:spcAft>
                <a:spcPts val="0"/>
              </a:spcAft>
              <a:buSzPct val="100000"/>
              <a:buFont typeface="Arial" panose="020B0604020202020204" pitchFamily="34" charset="0"/>
              <a:buChar char="•"/>
              <a:defRPr sz="1200" kern="1200">
                <a:solidFill>
                  <a:schemeClr val="tx1"/>
                </a:solidFill>
                <a:latin typeface="Lato Light" panose="020F0302020204030203" pitchFamily="34" charset="0"/>
                <a:ea typeface="+mn-ea"/>
                <a:cs typeface="Arial" panose="020B0604020202020204" pitchFamily="34" charset="0"/>
              </a:defRPr>
            </a:lvl4pPr>
            <a:lvl5pPr marL="432000" indent="-108000" algn="l" defTabSz="685800" rtl="0" eaLnBrk="1" latinLnBrk="0" hangingPunct="1">
              <a:spcBef>
                <a:spcPts val="0"/>
              </a:spcBef>
              <a:spcAft>
                <a:spcPts val="0"/>
              </a:spcAft>
              <a:buSzPct val="100000"/>
              <a:buFont typeface="Arial" panose="020B0604020202020204" pitchFamily="34" charset="0"/>
              <a:buChar char="•"/>
              <a:defRPr sz="1200" kern="1200">
                <a:solidFill>
                  <a:schemeClr val="tx1"/>
                </a:solidFill>
                <a:latin typeface="Lato Light" panose="020F0302020204030203" pitchFamily="34" charset="0"/>
                <a:ea typeface="+mn-ea"/>
                <a:cs typeface="Arial" panose="020B0604020202020204" pitchFamily="34" charset="0"/>
              </a:defRPr>
            </a:lvl5pPr>
            <a:lvl6pPr marL="432000" indent="-108000" algn="l" defTabSz="685800" rtl="0" eaLnBrk="1" latinLnBrk="0" hangingPunct="1">
              <a:spcBef>
                <a:spcPts val="0"/>
              </a:spcBef>
              <a:spcAft>
                <a:spcPts val="0"/>
              </a:spcAft>
              <a:buSzPct val="100000"/>
              <a:buFont typeface="Arial" panose="020B0604020202020204" pitchFamily="34" charset="0"/>
              <a:buChar char="•"/>
              <a:defRPr sz="1200" kern="1200">
                <a:solidFill>
                  <a:schemeClr val="tx1"/>
                </a:solidFill>
                <a:latin typeface="Lato Light" panose="020F0302020204030203" pitchFamily="34" charset="0"/>
                <a:ea typeface="+mn-ea"/>
                <a:cs typeface="Arial" panose="020B0604020202020204" pitchFamily="34" charset="0"/>
              </a:defRPr>
            </a:lvl6pPr>
            <a:lvl7pPr marL="432000" indent="-108000" algn="l" defTabSz="685800" rtl="0" eaLnBrk="1" latinLnBrk="0" hangingPunct="1">
              <a:spcBef>
                <a:spcPts val="0"/>
              </a:spcBef>
              <a:spcAft>
                <a:spcPts val="0"/>
              </a:spcAft>
              <a:buSzPct val="100000"/>
              <a:buFont typeface="Arial" panose="020B0604020202020204" pitchFamily="34" charset="0"/>
              <a:buChar char="•"/>
              <a:defRPr sz="1200" kern="1200">
                <a:solidFill>
                  <a:schemeClr val="tx1"/>
                </a:solidFill>
                <a:latin typeface="Lato Light" panose="020F0302020204030203" pitchFamily="34" charset="0"/>
                <a:ea typeface="+mn-ea"/>
                <a:cs typeface="Arial" panose="020B0604020202020204" pitchFamily="34" charset="0"/>
              </a:defRPr>
            </a:lvl7pPr>
            <a:lvl8pPr marL="432000" indent="-108000" algn="l" defTabSz="685800" rtl="0" eaLnBrk="1" latinLnBrk="0" hangingPunct="1">
              <a:spcBef>
                <a:spcPts val="0"/>
              </a:spcBef>
              <a:spcAft>
                <a:spcPts val="0"/>
              </a:spcAft>
              <a:buSzPct val="100000"/>
              <a:buFont typeface="Arial" panose="020B0604020202020204" pitchFamily="34" charset="0"/>
              <a:buChar char="•"/>
              <a:defRPr sz="1200" kern="1200">
                <a:solidFill>
                  <a:schemeClr val="tx1"/>
                </a:solidFill>
                <a:latin typeface="Lato Light" panose="020F0302020204030203" pitchFamily="34" charset="0"/>
                <a:ea typeface="+mn-ea"/>
                <a:cs typeface="Arial" panose="020B0604020202020204" pitchFamily="34" charset="0"/>
              </a:defRPr>
            </a:lvl8pPr>
            <a:lvl9pPr marL="432000" indent="-108000" algn="l" defTabSz="685800" rtl="0" eaLnBrk="1" latinLnBrk="0" hangingPunct="1">
              <a:spcBef>
                <a:spcPts val="0"/>
              </a:spcBef>
              <a:spcAft>
                <a:spcPts val="0"/>
              </a:spcAft>
              <a:buSzPct val="100000"/>
              <a:buFont typeface="Arial" panose="020B0604020202020204" pitchFamily="34" charset="0"/>
              <a:buChar char="•"/>
              <a:defRPr sz="1200" kern="1200" baseline="0">
                <a:solidFill>
                  <a:schemeClr val="tx1"/>
                </a:solidFill>
                <a:latin typeface="Lato Light" panose="020F0302020204030203" pitchFamily="34" charset="0"/>
                <a:ea typeface="+mn-ea"/>
                <a:cs typeface="Arial" panose="020B0604020202020204" pitchFamily="34" charset="0"/>
              </a:defRPr>
            </a:lvl9pPr>
          </a:lstStyle>
          <a:p>
            <a:pPr>
              <a:spcBef>
                <a:spcPct val="0"/>
              </a:spcBef>
              <a:spcAft>
                <a:spcPct val="0"/>
              </a:spcAft>
            </a:pPr>
            <a:fld id="{4EE765A8-52B9-41F6-AE2F-C6D67C361B40}" type="datetime'''1''7''''''''''''.''''''''''''''''''''''''1''2.'">
              <a:rPr lang="de-DE" altLang="en-US" sz="1000" smtClean="0">
                <a:effectLst/>
                <a:cs typeface="+mn-cs"/>
              </a:rPr>
              <a:pPr/>
              <a:t>17.12.</a:t>
            </a:fld>
            <a:endParaRPr lang="de-DE" sz="1000" noProof="0" dirty="0">
              <a:latin typeface="+mn-lt"/>
              <a:cs typeface="+mn-cs"/>
              <a:sym typeface="+mn-lt"/>
            </a:endParaRPr>
          </a:p>
        </p:txBody>
      </p:sp>
      <p:sp>
        <p:nvSpPr>
          <p:cNvPr id="82" name="Textplatzhalter 2">
            <a:extLst>
              <a:ext uri="{FF2B5EF4-FFF2-40B4-BE49-F238E27FC236}">
                <a16:creationId xmlns:a16="http://schemas.microsoft.com/office/drawing/2014/main" id="{87E5F35B-500D-40B6-B9F8-11B9C816A820}"/>
              </a:ext>
            </a:extLst>
          </p:cNvPr>
          <p:cNvSpPr>
            <a:spLocks noGrp="1"/>
          </p:cNvSpPr>
          <p:nvPr>
            <p:custDataLst>
              <p:tags r:id="rId93"/>
            </p:custDataLst>
          </p:nvPr>
        </p:nvSpPr>
        <p:spPr bwMode="auto">
          <a:xfrm>
            <a:off x="10785475" y="2490788"/>
            <a:ext cx="758825"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685800" rtl="0" eaLnBrk="1" latinLnBrk="0" hangingPunct="1">
              <a:spcBef>
                <a:spcPts val="0"/>
              </a:spcBef>
              <a:spcAft>
                <a:spcPts val="0"/>
              </a:spcAft>
              <a:buFont typeface="Arial" pitchFamily="34" charset="0"/>
              <a:buNone/>
              <a:defRPr sz="1200" kern="1200">
                <a:solidFill>
                  <a:schemeClr val="tx1"/>
                </a:solidFill>
                <a:latin typeface="Lato Light" panose="020F0302020204030203" pitchFamily="34" charset="0"/>
                <a:ea typeface="+mn-ea"/>
                <a:cs typeface="Arial" panose="020B0604020202020204" pitchFamily="34" charset="0"/>
              </a:defRPr>
            </a:lvl1pPr>
            <a:lvl2pPr marL="108000" indent="-108000" algn="l" defTabSz="685800" rtl="0" eaLnBrk="1" latinLnBrk="0" hangingPunct="1">
              <a:spcBef>
                <a:spcPts val="0"/>
              </a:spcBef>
              <a:spcAft>
                <a:spcPts val="0"/>
              </a:spcAft>
              <a:buFont typeface="Arial" panose="020B0604020202020204" pitchFamily="34" charset="0"/>
              <a:buChar char="•"/>
              <a:defRPr sz="1200" kern="1200">
                <a:solidFill>
                  <a:schemeClr val="tx1"/>
                </a:solidFill>
                <a:latin typeface="Lato Light" panose="020F0302020204030203" pitchFamily="34" charset="0"/>
                <a:ea typeface="+mn-ea"/>
                <a:cs typeface="Arial" panose="020B0604020202020204" pitchFamily="34" charset="0"/>
              </a:defRPr>
            </a:lvl2pPr>
            <a:lvl3pPr marL="216000" indent="-108000" algn="l" defTabSz="685800" rtl="0" eaLnBrk="1" latinLnBrk="0" hangingPunct="1">
              <a:spcBef>
                <a:spcPts val="0"/>
              </a:spcBef>
              <a:spcAft>
                <a:spcPts val="0"/>
              </a:spcAft>
              <a:buFont typeface="Arial" panose="020B0604020202020204" pitchFamily="34" charset="0"/>
              <a:buChar char="•"/>
              <a:defRPr sz="1200" kern="1200">
                <a:solidFill>
                  <a:schemeClr val="tx1"/>
                </a:solidFill>
                <a:latin typeface="Lato Light" panose="020F0302020204030203" pitchFamily="34" charset="0"/>
                <a:ea typeface="+mn-ea"/>
                <a:cs typeface="Arial" panose="020B0604020202020204" pitchFamily="34" charset="0"/>
              </a:defRPr>
            </a:lvl3pPr>
            <a:lvl4pPr marL="324000" indent="-108000" algn="l" defTabSz="685800" rtl="0" eaLnBrk="1" latinLnBrk="0" hangingPunct="1">
              <a:spcBef>
                <a:spcPts val="0"/>
              </a:spcBef>
              <a:spcAft>
                <a:spcPts val="0"/>
              </a:spcAft>
              <a:buSzPct val="100000"/>
              <a:buFont typeface="Arial" panose="020B0604020202020204" pitchFamily="34" charset="0"/>
              <a:buChar char="•"/>
              <a:defRPr sz="1200" kern="1200">
                <a:solidFill>
                  <a:schemeClr val="tx1"/>
                </a:solidFill>
                <a:latin typeface="Lato Light" panose="020F0302020204030203" pitchFamily="34" charset="0"/>
                <a:ea typeface="+mn-ea"/>
                <a:cs typeface="Arial" panose="020B0604020202020204" pitchFamily="34" charset="0"/>
              </a:defRPr>
            </a:lvl4pPr>
            <a:lvl5pPr marL="432000" indent="-108000" algn="l" defTabSz="685800" rtl="0" eaLnBrk="1" latinLnBrk="0" hangingPunct="1">
              <a:spcBef>
                <a:spcPts val="0"/>
              </a:spcBef>
              <a:spcAft>
                <a:spcPts val="0"/>
              </a:spcAft>
              <a:buSzPct val="100000"/>
              <a:buFont typeface="Arial" panose="020B0604020202020204" pitchFamily="34" charset="0"/>
              <a:buChar char="•"/>
              <a:defRPr sz="1200" kern="1200">
                <a:solidFill>
                  <a:schemeClr val="tx1"/>
                </a:solidFill>
                <a:latin typeface="Lato Light" panose="020F0302020204030203" pitchFamily="34" charset="0"/>
                <a:ea typeface="+mn-ea"/>
                <a:cs typeface="Arial" panose="020B0604020202020204" pitchFamily="34" charset="0"/>
              </a:defRPr>
            </a:lvl5pPr>
            <a:lvl6pPr marL="432000" indent="-108000" algn="l" defTabSz="685800" rtl="0" eaLnBrk="1" latinLnBrk="0" hangingPunct="1">
              <a:spcBef>
                <a:spcPts val="0"/>
              </a:spcBef>
              <a:spcAft>
                <a:spcPts val="0"/>
              </a:spcAft>
              <a:buSzPct val="100000"/>
              <a:buFont typeface="Arial" panose="020B0604020202020204" pitchFamily="34" charset="0"/>
              <a:buChar char="•"/>
              <a:defRPr sz="1200" kern="1200">
                <a:solidFill>
                  <a:schemeClr val="tx1"/>
                </a:solidFill>
                <a:latin typeface="Lato Light" panose="020F0302020204030203" pitchFamily="34" charset="0"/>
                <a:ea typeface="+mn-ea"/>
                <a:cs typeface="Arial" panose="020B0604020202020204" pitchFamily="34" charset="0"/>
              </a:defRPr>
            </a:lvl6pPr>
            <a:lvl7pPr marL="432000" indent="-108000" algn="l" defTabSz="685800" rtl="0" eaLnBrk="1" latinLnBrk="0" hangingPunct="1">
              <a:spcBef>
                <a:spcPts val="0"/>
              </a:spcBef>
              <a:spcAft>
                <a:spcPts val="0"/>
              </a:spcAft>
              <a:buSzPct val="100000"/>
              <a:buFont typeface="Arial" panose="020B0604020202020204" pitchFamily="34" charset="0"/>
              <a:buChar char="•"/>
              <a:defRPr sz="1200" kern="1200">
                <a:solidFill>
                  <a:schemeClr val="tx1"/>
                </a:solidFill>
                <a:latin typeface="Lato Light" panose="020F0302020204030203" pitchFamily="34" charset="0"/>
                <a:ea typeface="+mn-ea"/>
                <a:cs typeface="Arial" panose="020B0604020202020204" pitchFamily="34" charset="0"/>
              </a:defRPr>
            </a:lvl7pPr>
            <a:lvl8pPr marL="432000" indent="-108000" algn="l" defTabSz="685800" rtl="0" eaLnBrk="1" latinLnBrk="0" hangingPunct="1">
              <a:spcBef>
                <a:spcPts val="0"/>
              </a:spcBef>
              <a:spcAft>
                <a:spcPts val="0"/>
              </a:spcAft>
              <a:buSzPct val="100000"/>
              <a:buFont typeface="Arial" panose="020B0604020202020204" pitchFamily="34" charset="0"/>
              <a:buChar char="•"/>
              <a:defRPr sz="1200" kern="1200">
                <a:solidFill>
                  <a:schemeClr val="tx1"/>
                </a:solidFill>
                <a:latin typeface="Lato Light" panose="020F0302020204030203" pitchFamily="34" charset="0"/>
                <a:ea typeface="+mn-ea"/>
                <a:cs typeface="Arial" panose="020B0604020202020204" pitchFamily="34" charset="0"/>
              </a:defRPr>
            </a:lvl8pPr>
            <a:lvl9pPr marL="432000" indent="-108000" algn="l" defTabSz="685800" rtl="0" eaLnBrk="1" latinLnBrk="0" hangingPunct="1">
              <a:spcBef>
                <a:spcPts val="0"/>
              </a:spcBef>
              <a:spcAft>
                <a:spcPts val="0"/>
              </a:spcAft>
              <a:buSzPct val="100000"/>
              <a:buFont typeface="Arial" panose="020B0604020202020204" pitchFamily="34" charset="0"/>
              <a:buChar char="•"/>
              <a:defRPr sz="1200" kern="1200" baseline="0">
                <a:solidFill>
                  <a:schemeClr val="tx1"/>
                </a:solidFill>
                <a:latin typeface="Lato Light" panose="020F0302020204030203" pitchFamily="34" charset="0"/>
                <a:ea typeface="+mn-ea"/>
                <a:cs typeface="Arial" panose="020B0604020202020204" pitchFamily="34" charset="0"/>
              </a:defRPr>
            </a:lvl9pPr>
          </a:lstStyle>
          <a:p>
            <a:pPr>
              <a:spcBef>
                <a:spcPct val="0"/>
              </a:spcBef>
              <a:spcAft>
                <a:spcPct val="0"/>
              </a:spcAft>
            </a:pPr>
            <a:r>
              <a:rPr lang="de-DE" sz="1000" dirty="0"/>
              <a:t>Robert Mayer</a:t>
            </a:r>
            <a:endParaRPr lang="de-DE" sz="1000" noProof="0" dirty="0">
              <a:latin typeface="+mn-lt"/>
              <a:cs typeface="+mn-cs"/>
              <a:sym typeface="+mn-lt"/>
            </a:endParaRPr>
          </a:p>
        </p:txBody>
      </p:sp>
      <p:sp useBgFill="1">
        <p:nvSpPr>
          <p:cNvPr id="137" name="Textplatzhalter 2">
            <a:extLst>
              <a:ext uri="{FF2B5EF4-FFF2-40B4-BE49-F238E27FC236}">
                <a16:creationId xmlns:a16="http://schemas.microsoft.com/office/drawing/2014/main" id="{B6599BEE-C9D9-4195-968F-2555BDF6559C}"/>
              </a:ext>
            </a:extLst>
          </p:cNvPr>
          <p:cNvSpPr>
            <a:spLocks noGrp="1"/>
          </p:cNvSpPr>
          <p:nvPr>
            <p:custDataLst>
              <p:tags r:id="rId94"/>
            </p:custDataLst>
          </p:nvPr>
        </p:nvSpPr>
        <p:spPr bwMode="auto">
          <a:xfrm>
            <a:off x="2762250" y="5402263"/>
            <a:ext cx="342900" cy="152400"/>
          </a:xfrm>
          <a:prstGeom prst="rect">
            <a:avLst/>
          </a:prstGeom>
          <a:ln>
            <a:noFill/>
          </a:ln>
        </p:spPr>
        <p:txBody>
          <a:bodyPr vert="horz" wrap="none" lIns="0" tIns="0" rIns="0" bIns="0" numCol="1" spcCol="0" rtlCol="0" anchor="t" anchorCtr="0">
            <a:noAutofit/>
          </a:bodyPr>
          <a:lstStyle>
            <a:lvl1pPr marL="0" indent="0" algn="l" defTabSz="685800" rtl="0" eaLnBrk="1" latinLnBrk="0" hangingPunct="1">
              <a:spcBef>
                <a:spcPts val="0"/>
              </a:spcBef>
              <a:spcAft>
                <a:spcPts val="0"/>
              </a:spcAft>
              <a:buFont typeface="Arial" pitchFamily="34" charset="0"/>
              <a:buNone/>
              <a:defRPr sz="1200" kern="1200">
                <a:solidFill>
                  <a:schemeClr val="tx1"/>
                </a:solidFill>
                <a:latin typeface="Lato Light" panose="020F0302020204030203" pitchFamily="34" charset="0"/>
                <a:ea typeface="+mn-ea"/>
                <a:cs typeface="Arial" panose="020B0604020202020204" pitchFamily="34" charset="0"/>
              </a:defRPr>
            </a:lvl1pPr>
            <a:lvl2pPr marL="108000" indent="-108000" algn="l" defTabSz="685800" rtl="0" eaLnBrk="1" latinLnBrk="0" hangingPunct="1">
              <a:spcBef>
                <a:spcPts val="0"/>
              </a:spcBef>
              <a:spcAft>
                <a:spcPts val="0"/>
              </a:spcAft>
              <a:buFont typeface="Arial" panose="020B0604020202020204" pitchFamily="34" charset="0"/>
              <a:buChar char="•"/>
              <a:defRPr sz="1200" kern="1200">
                <a:solidFill>
                  <a:schemeClr val="tx1"/>
                </a:solidFill>
                <a:latin typeface="Lato Light" panose="020F0302020204030203" pitchFamily="34" charset="0"/>
                <a:ea typeface="+mn-ea"/>
                <a:cs typeface="Arial" panose="020B0604020202020204" pitchFamily="34" charset="0"/>
              </a:defRPr>
            </a:lvl2pPr>
            <a:lvl3pPr marL="216000" indent="-108000" algn="l" defTabSz="685800" rtl="0" eaLnBrk="1" latinLnBrk="0" hangingPunct="1">
              <a:spcBef>
                <a:spcPts val="0"/>
              </a:spcBef>
              <a:spcAft>
                <a:spcPts val="0"/>
              </a:spcAft>
              <a:buFont typeface="Arial" panose="020B0604020202020204" pitchFamily="34" charset="0"/>
              <a:buChar char="•"/>
              <a:defRPr sz="1200" kern="1200">
                <a:solidFill>
                  <a:schemeClr val="tx1"/>
                </a:solidFill>
                <a:latin typeface="Lato Light" panose="020F0302020204030203" pitchFamily="34" charset="0"/>
                <a:ea typeface="+mn-ea"/>
                <a:cs typeface="Arial" panose="020B0604020202020204" pitchFamily="34" charset="0"/>
              </a:defRPr>
            </a:lvl3pPr>
            <a:lvl4pPr marL="324000" indent="-108000" algn="l" defTabSz="685800" rtl="0" eaLnBrk="1" latinLnBrk="0" hangingPunct="1">
              <a:spcBef>
                <a:spcPts val="0"/>
              </a:spcBef>
              <a:spcAft>
                <a:spcPts val="0"/>
              </a:spcAft>
              <a:buSzPct val="100000"/>
              <a:buFont typeface="Arial" panose="020B0604020202020204" pitchFamily="34" charset="0"/>
              <a:buChar char="•"/>
              <a:defRPr sz="1200" kern="1200">
                <a:solidFill>
                  <a:schemeClr val="tx1"/>
                </a:solidFill>
                <a:latin typeface="Lato Light" panose="020F0302020204030203" pitchFamily="34" charset="0"/>
                <a:ea typeface="+mn-ea"/>
                <a:cs typeface="Arial" panose="020B0604020202020204" pitchFamily="34" charset="0"/>
              </a:defRPr>
            </a:lvl4pPr>
            <a:lvl5pPr marL="432000" indent="-108000" algn="l" defTabSz="685800" rtl="0" eaLnBrk="1" latinLnBrk="0" hangingPunct="1">
              <a:spcBef>
                <a:spcPts val="0"/>
              </a:spcBef>
              <a:spcAft>
                <a:spcPts val="0"/>
              </a:spcAft>
              <a:buSzPct val="100000"/>
              <a:buFont typeface="Arial" panose="020B0604020202020204" pitchFamily="34" charset="0"/>
              <a:buChar char="•"/>
              <a:defRPr sz="1200" kern="1200">
                <a:solidFill>
                  <a:schemeClr val="tx1"/>
                </a:solidFill>
                <a:latin typeface="Lato Light" panose="020F0302020204030203" pitchFamily="34" charset="0"/>
                <a:ea typeface="+mn-ea"/>
                <a:cs typeface="Arial" panose="020B0604020202020204" pitchFamily="34" charset="0"/>
              </a:defRPr>
            </a:lvl5pPr>
            <a:lvl6pPr marL="432000" indent="-108000" algn="l" defTabSz="685800" rtl="0" eaLnBrk="1" latinLnBrk="0" hangingPunct="1">
              <a:spcBef>
                <a:spcPts val="0"/>
              </a:spcBef>
              <a:spcAft>
                <a:spcPts val="0"/>
              </a:spcAft>
              <a:buSzPct val="100000"/>
              <a:buFont typeface="Arial" panose="020B0604020202020204" pitchFamily="34" charset="0"/>
              <a:buChar char="•"/>
              <a:defRPr sz="1200" kern="1200">
                <a:solidFill>
                  <a:schemeClr val="tx1"/>
                </a:solidFill>
                <a:latin typeface="Lato Light" panose="020F0302020204030203" pitchFamily="34" charset="0"/>
                <a:ea typeface="+mn-ea"/>
                <a:cs typeface="Arial" panose="020B0604020202020204" pitchFamily="34" charset="0"/>
              </a:defRPr>
            </a:lvl6pPr>
            <a:lvl7pPr marL="432000" indent="-108000" algn="l" defTabSz="685800" rtl="0" eaLnBrk="1" latinLnBrk="0" hangingPunct="1">
              <a:spcBef>
                <a:spcPts val="0"/>
              </a:spcBef>
              <a:spcAft>
                <a:spcPts val="0"/>
              </a:spcAft>
              <a:buSzPct val="100000"/>
              <a:buFont typeface="Arial" panose="020B0604020202020204" pitchFamily="34" charset="0"/>
              <a:buChar char="•"/>
              <a:defRPr sz="1200" kern="1200">
                <a:solidFill>
                  <a:schemeClr val="tx1"/>
                </a:solidFill>
                <a:latin typeface="Lato Light" panose="020F0302020204030203" pitchFamily="34" charset="0"/>
                <a:ea typeface="+mn-ea"/>
                <a:cs typeface="Arial" panose="020B0604020202020204" pitchFamily="34" charset="0"/>
              </a:defRPr>
            </a:lvl7pPr>
            <a:lvl8pPr marL="432000" indent="-108000" algn="l" defTabSz="685800" rtl="0" eaLnBrk="1" latinLnBrk="0" hangingPunct="1">
              <a:spcBef>
                <a:spcPts val="0"/>
              </a:spcBef>
              <a:spcAft>
                <a:spcPts val="0"/>
              </a:spcAft>
              <a:buSzPct val="100000"/>
              <a:buFont typeface="Arial" panose="020B0604020202020204" pitchFamily="34" charset="0"/>
              <a:buChar char="•"/>
              <a:defRPr sz="1200" kern="1200">
                <a:solidFill>
                  <a:schemeClr val="tx1"/>
                </a:solidFill>
                <a:latin typeface="Lato Light" panose="020F0302020204030203" pitchFamily="34" charset="0"/>
                <a:ea typeface="+mn-ea"/>
                <a:cs typeface="Arial" panose="020B0604020202020204" pitchFamily="34" charset="0"/>
              </a:defRPr>
            </a:lvl8pPr>
            <a:lvl9pPr marL="432000" indent="-108000" algn="l" defTabSz="685800" rtl="0" eaLnBrk="1" latinLnBrk="0" hangingPunct="1">
              <a:spcBef>
                <a:spcPts val="0"/>
              </a:spcBef>
              <a:spcAft>
                <a:spcPts val="0"/>
              </a:spcAft>
              <a:buSzPct val="100000"/>
              <a:buFont typeface="Arial" panose="020B0604020202020204" pitchFamily="34" charset="0"/>
              <a:buChar char="•"/>
              <a:defRPr sz="1200" kern="1200" baseline="0">
                <a:solidFill>
                  <a:schemeClr val="tx1"/>
                </a:solidFill>
                <a:latin typeface="Lato Light" panose="020F0302020204030203" pitchFamily="34" charset="0"/>
                <a:ea typeface="+mn-ea"/>
                <a:cs typeface="Arial" panose="020B0604020202020204" pitchFamily="34" charset="0"/>
              </a:defRPr>
            </a:lvl9pPr>
          </a:lstStyle>
          <a:p>
            <a:pPr>
              <a:spcBef>
                <a:spcPct val="0"/>
              </a:spcBef>
              <a:spcAft>
                <a:spcPct val="0"/>
              </a:spcAft>
            </a:pPr>
            <a:fld id="{A268011E-4994-4FE4-81B0-3BC504C24842}" type="datetime'0''''''''''''''''''''''''''''''''''1''''.''''0''''''6.'''''">
              <a:rPr lang="de-DE" altLang="en-US" sz="1000" smtClean="0">
                <a:effectLst/>
                <a:cs typeface="+mn-cs"/>
              </a:rPr>
              <a:pPr/>
              <a:t>01.06.</a:t>
            </a:fld>
            <a:endParaRPr lang="de-DE" sz="1000" noProof="0" dirty="0">
              <a:latin typeface="+mn-lt"/>
              <a:cs typeface="+mn-cs"/>
              <a:sym typeface="+mn-lt"/>
            </a:endParaRPr>
          </a:p>
        </p:txBody>
      </p:sp>
      <p:sp>
        <p:nvSpPr>
          <p:cNvPr id="79" name="Textplatzhalter 2">
            <a:extLst>
              <a:ext uri="{FF2B5EF4-FFF2-40B4-BE49-F238E27FC236}">
                <a16:creationId xmlns:a16="http://schemas.microsoft.com/office/drawing/2014/main" id="{884A4A76-DAF5-466D-A2B4-9A8215252423}"/>
              </a:ext>
            </a:extLst>
          </p:cNvPr>
          <p:cNvSpPr>
            <a:spLocks noGrp="1"/>
          </p:cNvSpPr>
          <p:nvPr>
            <p:custDataLst>
              <p:tags r:id="rId95"/>
            </p:custDataLst>
          </p:nvPr>
        </p:nvSpPr>
        <p:spPr bwMode="gray">
          <a:xfrm>
            <a:off x="385763" y="4165600"/>
            <a:ext cx="1217613"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0"/>
              </a:spcBef>
              <a:spcAft>
                <a:spcPts val="0"/>
              </a:spcAft>
              <a:buFont typeface="Arial" pitchFamily="34" charset="0"/>
              <a:buNone/>
              <a:defRPr sz="1600" kern="1200">
                <a:solidFill>
                  <a:schemeClr val="tx1"/>
                </a:solidFill>
                <a:latin typeface="+mn-lt"/>
                <a:ea typeface="+mn-ea"/>
                <a:cs typeface="+mn-cs"/>
              </a:defRPr>
            </a:lvl1pPr>
            <a:lvl2pPr marL="144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2pPr>
            <a:lvl3pPr marL="288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3pPr>
            <a:lvl4pPr marL="432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4pPr>
            <a:lvl5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5pPr>
            <a:lvl6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6pPr>
            <a:lvl7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7pPr>
            <a:lvl8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8pPr>
            <a:lvl9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9pPr>
          </a:lstStyle>
          <a:p>
            <a:pPr lvl="0">
              <a:spcBef>
                <a:spcPct val="0"/>
              </a:spcBef>
              <a:spcAft>
                <a:spcPct val="0"/>
              </a:spcAft>
              <a:defRPr/>
            </a:pPr>
            <a:r>
              <a:rPr lang="de-DE" altLang="en-US" sz="1000" dirty="0">
                <a:solidFill>
                  <a:prstClr val="black"/>
                </a:solidFill>
                <a:sym typeface="+mn-lt"/>
              </a:rPr>
              <a:t>Durchführung Analyse</a:t>
            </a:r>
          </a:p>
        </p:txBody>
      </p:sp>
      <p:sp>
        <p:nvSpPr>
          <p:cNvPr id="140" name="Textplatzhalter 2">
            <a:extLst>
              <a:ext uri="{FF2B5EF4-FFF2-40B4-BE49-F238E27FC236}">
                <a16:creationId xmlns:a16="http://schemas.microsoft.com/office/drawing/2014/main" id="{1973DDBE-A92E-439E-86BC-3EBA4652597D}"/>
              </a:ext>
            </a:extLst>
          </p:cNvPr>
          <p:cNvSpPr>
            <a:spLocks noGrp="1"/>
          </p:cNvSpPr>
          <p:nvPr>
            <p:custDataLst>
              <p:tags r:id="rId96"/>
            </p:custDataLst>
          </p:nvPr>
        </p:nvSpPr>
        <p:spPr bwMode="gray">
          <a:xfrm>
            <a:off x="2633663" y="2146301"/>
            <a:ext cx="804863" cy="136525"/>
          </a:xfrm>
          <a:prstGeom prst="rect">
            <a:avLst/>
          </a:prstGeom>
          <a:solidFill>
            <a:schemeClr val="bg1"/>
          </a:solidFill>
          <a:ln>
            <a:noFill/>
          </a:ln>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de-DE" sz="1000" dirty="0">
                <a:sym typeface="+mn-lt"/>
              </a:rPr>
              <a:t>Projekt-Kick-off</a:t>
            </a:r>
          </a:p>
        </p:txBody>
      </p:sp>
      <p:sp>
        <p:nvSpPr>
          <p:cNvPr id="72" name="Textplatzhalter 2">
            <a:extLst>
              <a:ext uri="{FF2B5EF4-FFF2-40B4-BE49-F238E27FC236}">
                <a16:creationId xmlns:a16="http://schemas.microsoft.com/office/drawing/2014/main" id="{433C3A1B-E105-4F56-ABEC-F1DFA10ACBE7}"/>
              </a:ext>
            </a:extLst>
          </p:cNvPr>
          <p:cNvSpPr>
            <a:spLocks noGrp="1"/>
          </p:cNvSpPr>
          <p:nvPr>
            <p:custDataLst>
              <p:tags r:id="rId97"/>
            </p:custDataLst>
          </p:nvPr>
        </p:nvSpPr>
        <p:spPr bwMode="gray">
          <a:xfrm>
            <a:off x="385763" y="4413250"/>
            <a:ext cx="1433513"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0"/>
              </a:spcBef>
              <a:spcAft>
                <a:spcPts val="0"/>
              </a:spcAft>
              <a:buFont typeface="Arial" pitchFamily="34" charset="0"/>
              <a:buNone/>
              <a:defRPr sz="1600" kern="1200">
                <a:solidFill>
                  <a:schemeClr val="tx1"/>
                </a:solidFill>
                <a:latin typeface="+mn-lt"/>
                <a:ea typeface="+mn-ea"/>
                <a:cs typeface="+mn-cs"/>
              </a:defRPr>
            </a:lvl1pPr>
            <a:lvl2pPr marL="144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2pPr>
            <a:lvl3pPr marL="288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3pPr>
            <a:lvl4pPr marL="432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4pPr>
            <a:lvl5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5pPr>
            <a:lvl6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6pPr>
            <a:lvl7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7pPr>
            <a:lvl8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8pPr>
            <a:lvl9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9pPr>
          </a:lstStyle>
          <a:p>
            <a:pPr>
              <a:spcBef>
                <a:spcPct val="0"/>
              </a:spcBef>
              <a:spcAft>
                <a:spcPct val="0"/>
              </a:spcAft>
              <a:defRPr/>
            </a:pPr>
            <a:r>
              <a:rPr lang="de-DE" sz="1000" dirty="0">
                <a:sym typeface="+mn-lt"/>
              </a:rPr>
              <a:t>Identifikation Maßnahmen</a:t>
            </a:r>
            <a:endParaRPr kumimoji="0" lang="de-DE" sz="1000" b="0" i="0" strike="noStrike" kern="1200" spc="0" normalizeH="0" dirty="0">
              <a:ln>
                <a:noFill/>
              </a:ln>
              <a:solidFill>
                <a:srgbClr val="000000"/>
              </a:solidFill>
              <a:effectLst/>
              <a:uLnTx/>
              <a:uFillTx/>
              <a:sym typeface="+mn-lt"/>
            </a:endParaRPr>
          </a:p>
        </p:txBody>
      </p:sp>
      <p:sp>
        <p:nvSpPr>
          <p:cNvPr id="108" name="Rechteck 107">
            <a:extLst>
              <a:ext uri="{FF2B5EF4-FFF2-40B4-BE49-F238E27FC236}">
                <a16:creationId xmlns:a16="http://schemas.microsoft.com/office/drawing/2014/main" id="{1769E7D4-8F04-4EF0-BD3F-3F9ADA5ED805}"/>
              </a:ext>
            </a:extLst>
          </p:cNvPr>
          <p:cNvSpPr/>
          <p:nvPr/>
        </p:nvSpPr>
        <p:spPr>
          <a:xfrm>
            <a:off x="10954961" y="69705"/>
            <a:ext cx="900000" cy="252000"/>
          </a:xfrm>
          <a:prstGeom prst="rect">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b="1" dirty="0"/>
              <a:t>Entwurf</a:t>
            </a:r>
          </a:p>
        </p:txBody>
      </p:sp>
      <p:sp>
        <p:nvSpPr>
          <p:cNvPr id="145" name="Textfeld 144">
            <a:extLst>
              <a:ext uri="{FF2B5EF4-FFF2-40B4-BE49-F238E27FC236}">
                <a16:creationId xmlns:a16="http://schemas.microsoft.com/office/drawing/2014/main" id="{9B36A37B-A5EB-4DC5-83F5-8715D0F8789F}"/>
              </a:ext>
            </a:extLst>
          </p:cNvPr>
          <p:cNvSpPr txBox="1"/>
          <p:nvPr/>
        </p:nvSpPr>
        <p:spPr>
          <a:xfrm>
            <a:off x="334963" y="6544666"/>
            <a:ext cx="1380506" cy="215444"/>
          </a:xfrm>
          <a:prstGeom prst="rect">
            <a:avLst/>
          </a:prstGeom>
          <a:noFill/>
        </p:spPr>
        <p:txBody>
          <a:bodyPr wrap="none" rtlCol="0" anchor="b">
            <a:spAutoFit/>
          </a:bodyPr>
          <a:lstStyle/>
          <a:p>
            <a:r>
              <a:rPr lang="de-DE" sz="800" dirty="0"/>
              <a:t>Quelle: Projektteam Phönix</a:t>
            </a:r>
          </a:p>
        </p:txBody>
      </p:sp>
    </p:spTree>
    <p:extLst>
      <p:ext uri="{BB962C8B-B14F-4D97-AF65-F5344CB8AC3E}">
        <p14:creationId xmlns:p14="http://schemas.microsoft.com/office/powerpoint/2010/main" val="331166165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kt 10" hidden="1">
            <a:extLst>
              <a:ext uri="{FF2B5EF4-FFF2-40B4-BE49-F238E27FC236}">
                <a16:creationId xmlns:a16="http://schemas.microsoft.com/office/drawing/2014/main" id="{EFB91133-0E2F-48F6-A178-B17E2BEC5EAB}"/>
              </a:ext>
            </a:extLst>
          </p:cNvPr>
          <p:cNvGraphicFramePr>
            <a:graphicFrameLocks noChangeAspect="1"/>
          </p:cNvGraphicFramePr>
          <p:nvPr>
            <p:custDataLst>
              <p:tags r:id="rId1"/>
            </p:custDataLst>
            <p:extLst>
              <p:ext uri="{D42A27DB-BD31-4B8C-83A1-F6EECF244321}">
                <p14:modId xmlns:p14="http://schemas.microsoft.com/office/powerpoint/2010/main" val="26025056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25" imgH="426" progId="TCLayout.ActiveDocument.1">
                  <p:embed/>
                </p:oleObj>
              </mc:Choice>
              <mc:Fallback>
                <p:oleObj name="think-cell Folie" r:id="rId4" imgW="425" imgH="426" progId="TCLayout.ActiveDocument.1">
                  <p:embed/>
                  <p:pic>
                    <p:nvPicPr>
                      <p:cNvPr id="11" name="Objekt 10" hidden="1">
                        <a:extLst>
                          <a:ext uri="{FF2B5EF4-FFF2-40B4-BE49-F238E27FC236}">
                            <a16:creationId xmlns:a16="http://schemas.microsoft.com/office/drawing/2014/main" id="{EFB91133-0E2F-48F6-A178-B17E2BEC5EA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2C72BAFB-38D4-4258-BA15-1CFBBCCB4463}"/>
              </a:ext>
            </a:extLst>
          </p:cNvPr>
          <p:cNvSpPr>
            <a:spLocks noGrp="1"/>
          </p:cNvSpPr>
          <p:nvPr>
            <p:ph type="title"/>
          </p:nvPr>
        </p:nvSpPr>
        <p:spPr>
          <a:xfrm>
            <a:off x="334963" y="333374"/>
            <a:ext cx="11520000" cy="540000"/>
          </a:xfrm>
        </p:spPr>
        <p:txBody>
          <a:bodyPr vert="horz"/>
          <a:lstStyle/>
          <a:p>
            <a:r>
              <a:rPr lang="de-DE" dirty="0"/>
              <a:t>Regeln zur Beschlussfassung im Steuerkreis sind definiert und abgestimmt</a:t>
            </a:r>
          </a:p>
        </p:txBody>
      </p:sp>
      <p:graphicFrame>
        <p:nvGraphicFramePr>
          <p:cNvPr id="10" name="Tabelle 9">
            <a:extLst>
              <a:ext uri="{FF2B5EF4-FFF2-40B4-BE49-F238E27FC236}">
                <a16:creationId xmlns:a16="http://schemas.microsoft.com/office/drawing/2014/main" id="{BA66F5EB-925A-4FC3-BAC7-F030C4B3404D}"/>
              </a:ext>
            </a:extLst>
          </p:cNvPr>
          <p:cNvGraphicFramePr>
            <a:graphicFrameLocks noGrp="1"/>
          </p:cNvGraphicFramePr>
          <p:nvPr>
            <p:custDataLst>
              <p:tags r:id="rId2"/>
            </p:custDataLst>
            <p:extLst>
              <p:ext uri="{D42A27DB-BD31-4B8C-83A1-F6EECF244321}">
                <p14:modId xmlns:p14="http://schemas.microsoft.com/office/powerpoint/2010/main" val="3302030549"/>
              </p:ext>
            </p:extLst>
          </p:nvPr>
        </p:nvGraphicFramePr>
        <p:xfrm>
          <a:off x="334963" y="1125537"/>
          <a:ext cx="11520000" cy="5399088"/>
        </p:xfrm>
        <a:graphic>
          <a:graphicData uri="http://schemas.openxmlformats.org/drawingml/2006/table">
            <a:tbl>
              <a:tblPr firstRow="1" bandRow="1">
                <a:effectLst/>
                <a:tableStyleId>{5C22544A-7EE6-4342-B048-85BDC9FD1C3A}</a:tableStyleId>
              </a:tblPr>
              <a:tblGrid>
                <a:gridCol w="2075503">
                  <a:extLst>
                    <a:ext uri="{9D8B030D-6E8A-4147-A177-3AD203B41FA5}">
                      <a16:colId xmlns:a16="http://schemas.microsoft.com/office/drawing/2014/main" val="20000"/>
                    </a:ext>
                  </a:extLst>
                </a:gridCol>
                <a:gridCol w="9444497">
                  <a:extLst>
                    <a:ext uri="{9D8B030D-6E8A-4147-A177-3AD203B41FA5}">
                      <a16:colId xmlns:a16="http://schemas.microsoft.com/office/drawing/2014/main" val="20001"/>
                    </a:ext>
                  </a:extLst>
                </a:gridCol>
              </a:tblGrid>
              <a:tr h="1266034">
                <a:tc>
                  <a:txBody>
                    <a:bodyPr/>
                    <a:lstStyle/>
                    <a:p>
                      <a:pPr rtl="0">
                        <a:spcBef>
                          <a:spcPts val="0"/>
                        </a:spcBef>
                      </a:pPr>
                      <a:r>
                        <a:rPr lang="de-DE" sz="1400" b="1" noProof="0" dirty="0">
                          <a:solidFill>
                            <a:schemeClr val="tx1"/>
                          </a:solidFill>
                        </a:rPr>
                        <a:t>Zusammensetzung des Steuerkreises</a:t>
                      </a:r>
                    </a:p>
                  </a:txBody>
                  <a:tcPr marL="0" marR="54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lvl="1" indent="0" rtl="0">
                        <a:spcBef>
                          <a:spcPts val="200"/>
                        </a:spcBef>
                        <a:buFont typeface="Wingdings" panose="05000000000000000000" pitchFamily="2" charset="2"/>
                        <a:buNone/>
                      </a:pPr>
                      <a:r>
                        <a:rPr lang="de-DE" sz="1400" b="0" noProof="0" dirty="0">
                          <a:solidFill>
                            <a:schemeClr val="tx1"/>
                          </a:solidFill>
                        </a:rPr>
                        <a:t>Der Steuerkreis setzt sich aus vier (4) Personen zusammen:</a:t>
                      </a:r>
                    </a:p>
                    <a:p>
                      <a:pPr marL="171450" lvl="1" indent="-171450" rtl="0">
                        <a:spcBef>
                          <a:spcPts val="200"/>
                        </a:spcBef>
                        <a:buFont typeface="Wingdings" panose="05000000000000000000" pitchFamily="2" charset="2"/>
                        <a:buChar char="§"/>
                      </a:pPr>
                      <a:r>
                        <a:rPr lang="de-DE" sz="1400" b="0" noProof="0" dirty="0">
                          <a:solidFill>
                            <a:schemeClr val="tx1"/>
                          </a:solidFill>
                        </a:rPr>
                        <a:t>Die ständigen, stimmberechtigten Vertreter der Geschäftsführung sind: Vorname Nachname, Vorname Nachname …</a:t>
                      </a:r>
                    </a:p>
                    <a:p>
                      <a:pPr marL="171450" lvl="1" indent="-171450" rtl="0">
                        <a:spcBef>
                          <a:spcPts val="200"/>
                        </a:spcBef>
                        <a:buFont typeface="Wingdings" panose="05000000000000000000" pitchFamily="2" charset="2"/>
                        <a:buChar char="§"/>
                      </a:pPr>
                      <a:r>
                        <a:rPr lang="de-DE" sz="1400" b="0" noProof="0" dirty="0">
                          <a:solidFill>
                            <a:schemeClr val="tx1"/>
                          </a:solidFill>
                        </a:rPr>
                        <a:t>Die ständigen, stimmberechtigten Vertreter des Fachbereichs sind: Vorname Nachname, Vorname Nachname …</a:t>
                      </a:r>
                    </a:p>
                    <a:p>
                      <a:pPr marL="171450" lvl="1" indent="-171450" rtl="0">
                        <a:spcBef>
                          <a:spcPts val="200"/>
                        </a:spcBef>
                        <a:buFont typeface="Wingdings" panose="05000000000000000000" pitchFamily="2" charset="2"/>
                        <a:buChar char="§"/>
                      </a:pPr>
                      <a:r>
                        <a:rPr lang="de-DE" sz="1400" b="0" noProof="0" dirty="0">
                          <a:solidFill>
                            <a:schemeClr val="tx1"/>
                          </a:solidFill>
                        </a:rPr>
                        <a:t>Weitere, nicht stimmberechtigte Mitglieder sind: Vorname Nachname, Vorname Nachname …</a:t>
                      </a:r>
                    </a:p>
                  </a:txBody>
                  <a:tcPr marL="0" marR="54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28079071"/>
                  </a:ext>
                </a:extLst>
              </a:tr>
              <a:tr h="1104396">
                <a:tc>
                  <a:txBody>
                    <a:bodyPr/>
                    <a:lstStyle/>
                    <a:p>
                      <a:pPr rtl="0">
                        <a:spcBef>
                          <a:spcPts val="0"/>
                        </a:spcBef>
                      </a:pPr>
                      <a:r>
                        <a:rPr lang="de-DE" sz="1400" b="1" noProof="0" dirty="0">
                          <a:solidFill>
                            <a:schemeClr val="tx1"/>
                          </a:solidFill>
                        </a:rPr>
                        <a:t>Kriterien für die Beschlussfähigkeit des Steuerkreises</a:t>
                      </a:r>
                    </a:p>
                  </a:txBody>
                  <a:tcPr marL="0" marR="54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lvl="1" indent="0" rtl="0">
                        <a:spcBef>
                          <a:spcPts val="200"/>
                        </a:spcBef>
                        <a:buFont typeface="Wingdings" panose="05000000000000000000" pitchFamily="2" charset="2"/>
                        <a:buNone/>
                      </a:pPr>
                      <a:r>
                        <a:rPr lang="de-DE" sz="1400" noProof="0" dirty="0">
                          <a:solidFill>
                            <a:schemeClr val="tx1"/>
                          </a:solidFill>
                        </a:rPr>
                        <a:t>Der Steuerkreis ist im Rahmen ordentlicher und im Bedarfsfall außerordentlichen Sitzungen entscheidungsfähig, wenn alle der folgenden Bedingungen erfüllt sind:</a:t>
                      </a:r>
                    </a:p>
                    <a:p>
                      <a:pPr marL="171450" lvl="1" indent="-171450" rtl="0">
                        <a:spcBef>
                          <a:spcPts val="200"/>
                        </a:spcBef>
                        <a:buFont typeface="Wingdings" panose="05000000000000000000" pitchFamily="2" charset="2"/>
                        <a:buChar char="§"/>
                      </a:pPr>
                      <a:r>
                        <a:rPr lang="de-DE" sz="1400" noProof="0" dirty="0">
                          <a:solidFill>
                            <a:schemeClr val="tx1"/>
                          </a:solidFill>
                        </a:rPr>
                        <a:t>Es sind mindestens drei (3) der vier (4) Mitglieder anwesend (bzw. zugeschaltet) für reguläre Projektenscheidungen.</a:t>
                      </a:r>
                    </a:p>
                  </a:txBody>
                  <a:tcPr marL="0" marR="54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37681067"/>
                  </a:ext>
                </a:extLst>
              </a:tr>
              <a:tr h="1411977">
                <a:tc>
                  <a:txBody>
                    <a:bodyPr/>
                    <a:lstStyle/>
                    <a:p>
                      <a:pPr rtl="0">
                        <a:spcBef>
                          <a:spcPts val="0"/>
                        </a:spcBef>
                      </a:pPr>
                      <a:r>
                        <a:rPr lang="de-DE" sz="1400" b="1" noProof="0" dirty="0">
                          <a:solidFill>
                            <a:schemeClr val="tx1"/>
                          </a:solidFill>
                        </a:rPr>
                        <a:t>Treffen von Entscheidungen durch </a:t>
                      </a:r>
                      <a:br>
                        <a:rPr lang="de-DE" sz="1400" b="1" noProof="0" dirty="0">
                          <a:solidFill>
                            <a:schemeClr val="tx1"/>
                          </a:solidFill>
                        </a:rPr>
                      </a:br>
                      <a:r>
                        <a:rPr lang="de-DE" sz="1400" b="1" noProof="0" dirty="0">
                          <a:solidFill>
                            <a:schemeClr val="tx1"/>
                          </a:solidFill>
                        </a:rPr>
                        <a:t>den Steuerkreis</a:t>
                      </a:r>
                    </a:p>
                  </a:txBody>
                  <a:tcPr marL="0" marR="54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lvl="1" indent="-171450" rtl="0">
                        <a:spcBef>
                          <a:spcPts val="200"/>
                        </a:spcBef>
                        <a:buFont typeface="Wingdings" panose="05000000000000000000" pitchFamily="2" charset="2"/>
                        <a:buChar char="§"/>
                      </a:pPr>
                      <a:r>
                        <a:rPr lang="de-DE" sz="1400" noProof="0" dirty="0">
                          <a:solidFill>
                            <a:schemeClr val="tx1"/>
                          </a:solidFill>
                        </a:rPr>
                        <a:t>Projektentscheidungen (gemäß der Entscheidungsbefugnisse des Gremiums) werden im Regelfall mit absoluter Mehrheit getroffen, d.h. dass mehr als 50 % der anwesenden (bzw. zugeschalteten), stimmberechtigten Steuerkreis-Mitglieder für eine Option stimmen müssen. </a:t>
                      </a:r>
                    </a:p>
                    <a:p>
                      <a:pPr marL="171450" lvl="1" indent="-171450" rtl="0">
                        <a:spcBef>
                          <a:spcPts val="200"/>
                        </a:spcBef>
                        <a:buFont typeface="Wingdings" panose="05000000000000000000" pitchFamily="2" charset="2"/>
                        <a:buChar char="§"/>
                      </a:pPr>
                      <a:r>
                        <a:rPr lang="de-DE" sz="1400" noProof="0" dirty="0">
                          <a:solidFill>
                            <a:schemeClr val="tx1"/>
                          </a:solidFill>
                        </a:rPr>
                        <a:t>(Optional: Es muss jedoch immer ein (1) Vertreter der Geschäftsführung zustimmen)</a:t>
                      </a:r>
                    </a:p>
                  </a:txBody>
                  <a:tcPr marL="0" marR="54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71140200"/>
                  </a:ext>
                </a:extLst>
              </a:tr>
              <a:tr h="1616681">
                <a:tc>
                  <a:txBody>
                    <a:bodyPr/>
                    <a:lstStyle/>
                    <a:p>
                      <a:pPr rtl="0">
                        <a:spcBef>
                          <a:spcPts val="0"/>
                        </a:spcBef>
                      </a:pPr>
                      <a:r>
                        <a:rPr lang="de-DE" sz="1400" b="1" noProof="0" dirty="0">
                          <a:solidFill>
                            <a:schemeClr val="tx1"/>
                          </a:solidFill>
                        </a:rPr>
                        <a:t>Dokumentation getroffener Entscheidungen</a:t>
                      </a:r>
                    </a:p>
                  </a:txBody>
                  <a:tcPr marL="0" marR="54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lvl="1" indent="-171450" rtl="0">
                        <a:spcBef>
                          <a:spcPts val="200"/>
                        </a:spcBef>
                        <a:buFont typeface="Wingdings" panose="05000000000000000000" pitchFamily="2" charset="2"/>
                        <a:buChar char="§"/>
                      </a:pPr>
                      <a:r>
                        <a:rPr lang="de-DE" sz="1400" noProof="0" dirty="0">
                          <a:solidFill>
                            <a:schemeClr val="tx1"/>
                          </a:solidFill>
                        </a:rPr>
                        <a:t>Die Entscheidungen und deren Ordnungsmäßigkeit (Erfüllung der o.g. Kriterien), werden in anzufertigenden Ergebnisprotokollen des Steuerkreises dokumentiert.</a:t>
                      </a:r>
                    </a:p>
                    <a:p>
                      <a:pPr marL="171450" lvl="1" indent="-171450" rtl="0">
                        <a:spcBef>
                          <a:spcPts val="200"/>
                        </a:spcBef>
                        <a:buFont typeface="Wingdings" panose="05000000000000000000" pitchFamily="2" charset="2"/>
                        <a:buChar char="§"/>
                      </a:pPr>
                      <a:r>
                        <a:rPr lang="de-DE" sz="1400" noProof="0" dirty="0">
                          <a:solidFill>
                            <a:schemeClr val="tx1"/>
                          </a:solidFill>
                        </a:rPr>
                        <a:t>Das Ergebnisprotokoll wird im Nachgang an die Steuerkreis-Mitglieder versendet. Werden von den in der Sitzung nicht anwesenden Steuerkreis-Mitgliedern innerhalb von (3) Tagen (Versandtag plus zwei Tage) keine Einwände vorgebracht, gelten Entscheidungen als angenommen. Andernfalls werden sie in der folgenden Sitzung dem Steuerkreis erneut zur Entscheidung vorgelegt.</a:t>
                      </a:r>
                    </a:p>
                  </a:txBody>
                  <a:tcPr marL="0" marR="54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63726347"/>
                  </a:ext>
                </a:extLst>
              </a:tr>
            </a:tbl>
          </a:graphicData>
        </a:graphic>
      </p:graphicFrame>
      <p:sp>
        <p:nvSpPr>
          <p:cNvPr id="8" name="Rechteck 7">
            <a:extLst>
              <a:ext uri="{FF2B5EF4-FFF2-40B4-BE49-F238E27FC236}">
                <a16:creationId xmlns:a16="http://schemas.microsoft.com/office/drawing/2014/main" id="{3624016E-364E-4C1A-B73F-E7E4E247D387}"/>
              </a:ext>
            </a:extLst>
          </p:cNvPr>
          <p:cNvSpPr/>
          <p:nvPr/>
        </p:nvSpPr>
        <p:spPr>
          <a:xfrm>
            <a:off x="10954961" y="69705"/>
            <a:ext cx="900000" cy="252000"/>
          </a:xfrm>
          <a:prstGeom prst="rect">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b="1" dirty="0"/>
              <a:t>Entwurf</a:t>
            </a:r>
          </a:p>
        </p:txBody>
      </p:sp>
      <p:sp>
        <p:nvSpPr>
          <p:cNvPr id="13" name="Textfeld 12">
            <a:extLst>
              <a:ext uri="{FF2B5EF4-FFF2-40B4-BE49-F238E27FC236}">
                <a16:creationId xmlns:a16="http://schemas.microsoft.com/office/drawing/2014/main" id="{2EBBA8CC-EC51-4BC7-B524-366F671989E8}"/>
              </a:ext>
            </a:extLst>
          </p:cNvPr>
          <p:cNvSpPr txBox="1"/>
          <p:nvPr/>
        </p:nvSpPr>
        <p:spPr>
          <a:xfrm>
            <a:off x="334963" y="6544666"/>
            <a:ext cx="1380506" cy="215444"/>
          </a:xfrm>
          <a:prstGeom prst="rect">
            <a:avLst/>
          </a:prstGeom>
          <a:noFill/>
        </p:spPr>
        <p:txBody>
          <a:bodyPr wrap="none" rtlCol="0" anchor="b">
            <a:spAutoFit/>
          </a:bodyPr>
          <a:lstStyle/>
          <a:p>
            <a:r>
              <a:rPr lang="de-DE" sz="800" dirty="0"/>
              <a:t>Quelle: Projektteam Phönix</a:t>
            </a:r>
          </a:p>
        </p:txBody>
      </p:sp>
    </p:spTree>
    <p:extLst>
      <p:ext uri="{BB962C8B-B14F-4D97-AF65-F5344CB8AC3E}">
        <p14:creationId xmlns:p14="http://schemas.microsoft.com/office/powerpoint/2010/main" val="211068480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4D38E265-9AD5-4BC9-9888-26528D78243D}"/>
              </a:ext>
            </a:extLst>
          </p:cNvPr>
          <p:cNvGraphicFramePr>
            <a:graphicFrameLocks noChangeAspect="1"/>
          </p:cNvGraphicFramePr>
          <p:nvPr>
            <p:custDataLst>
              <p:tags r:id="rId1"/>
            </p:custDataLst>
            <p:extLst>
              <p:ext uri="{D42A27DB-BD31-4B8C-83A1-F6EECF244321}">
                <p14:modId xmlns:p14="http://schemas.microsoft.com/office/powerpoint/2010/main" val="35705781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25" imgH="426" progId="TCLayout.ActiveDocument.1">
                  <p:embed/>
                </p:oleObj>
              </mc:Choice>
              <mc:Fallback>
                <p:oleObj name="think-cell Folie" r:id="rId4" imgW="425" imgH="426" progId="TCLayout.ActiveDocument.1">
                  <p:embed/>
                  <p:pic>
                    <p:nvPicPr>
                      <p:cNvPr id="5" name="Objekt 4" hidden="1">
                        <a:extLst>
                          <a:ext uri="{FF2B5EF4-FFF2-40B4-BE49-F238E27FC236}">
                            <a16:creationId xmlns:a16="http://schemas.microsoft.com/office/drawing/2014/main" id="{4D38E265-9AD5-4BC9-9888-26528D78243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8859D92D-701B-4124-A2E8-10495730A344}"/>
              </a:ext>
            </a:extLst>
          </p:cNvPr>
          <p:cNvSpPr>
            <a:spLocks noGrp="1"/>
          </p:cNvSpPr>
          <p:nvPr>
            <p:ph type="title"/>
          </p:nvPr>
        </p:nvSpPr>
        <p:spPr/>
        <p:txBody>
          <a:bodyPr vert="horz"/>
          <a:lstStyle/>
          <a:p>
            <a:r>
              <a:rPr lang="de-DE" dirty="0"/>
              <a:t>Agenda</a:t>
            </a:r>
          </a:p>
        </p:txBody>
      </p:sp>
      <p:graphicFrame>
        <p:nvGraphicFramePr>
          <p:cNvPr id="4" name="Tabelle 3">
            <a:extLst>
              <a:ext uri="{FF2B5EF4-FFF2-40B4-BE49-F238E27FC236}">
                <a16:creationId xmlns:a16="http://schemas.microsoft.com/office/drawing/2014/main" id="{0D8B8836-472E-4B5B-A7ED-A4E38E258A37}"/>
              </a:ext>
            </a:extLst>
          </p:cNvPr>
          <p:cNvGraphicFramePr>
            <a:graphicFrameLocks noGrp="1"/>
          </p:cNvGraphicFramePr>
          <p:nvPr>
            <p:custDataLst>
              <p:tags r:id="rId2"/>
            </p:custDataLst>
            <p:extLst>
              <p:ext uri="{D42A27DB-BD31-4B8C-83A1-F6EECF244321}">
                <p14:modId xmlns:p14="http://schemas.microsoft.com/office/powerpoint/2010/main" val="1985625043"/>
              </p:ext>
            </p:extLst>
          </p:nvPr>
        </p:nvGraphicFramePr>
        <p:xfrm>
          <a:off x="1476878" y="1752495"/>
          <a:ext cx="9238244" cy="2494594"/>
        </p:xfrm>
        <a:graphic>
          <a:graphicData uri="http://schemas.openxmlformats.org/drawingml/2006/table">
            <a:tbl>
              <a:tblPr firstRow="1" bandRow="1">
                <a:effectLst/>
                <a:tableStyleId>{5C22544A-7EE6-4342-B048-85BDC9FD1C3A}</a:tableStyleId>
              </a:tblPr>
              <a:tblGrid>
                <a:gridCol w="911195">
                  <a:extLst>
                    <a:ext uri="{9D8B030D-6E8A-4147-A177-3AD203B41FA5}">
                      <a16:colId xmlns:a16="http://schemas.microsoft.com/office/drawing/2014/main" val="20001"/>
                    </a:ext>
                  </a:extLst>
                </a:gridCol>
                <a:gridCol w="5731706">
                  <a:extLst>
                    <a:ext uri="{9D8B030D-6E8A-4147-A177-3AD203B41FA5}">
                      <a16:colId xmlns:a16="http://schemas.microsoft.com/office/drawing/2014/main" val="20002"/>
                    </a:ext>
                  </a:extLst>
                </a:gridCol>
                <a:gridCol w="2595343">
                  <a:extLst>
                    <a:ext uri="{9D8B030D-6E8A-4147-A177-3AD203B41FA5}">
                      <a16:colId xmlns:a16="http://schemas.microsoft.com/office/drawing/2014/main" val="20003"/>
                    </a:ext>
                  </a:extLst>
                </a:gridCol>
              </a:tblGrid>
              <a:tr h="437495">
                <a:tc>
                  <a:txBody>
                    <a:bodyPr/>
                    <a:lstStyle/>
                    <a:p>
                      <a:pPr algn="ctr" rtl="0"/>
                      <a:r>
                        <a:rPr lang="de-DE" sz="1600" b="1" i="0" noProof="0" dirty="0">
                          <a:solidFill>
                            <a:schemeClr val="tx1"/>
                          </a:solidFill>
                        </a:rPr>
                        <a:t>TOP </a:t>
                      </a:r>
                    </a:p>
                  </a:txBody>
                  <a:tcPr marL="0" marR="54000" marT="36000" marB="3600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r>
                        <a:rPr lang="de-DE" sz="1600" b="1" i="0" noProof="0" dirty="0">
                          <a:solidFill>
                            <a:schemeClr val="tx1"/>
                          </a:solidFill>
                        </a:rPr>
                        <a:t>Inhalt </a:t>
                      </a:r>
                    </a:p>
                  </a:txBody>
                  <a:tcPr marL="0" marR="54000" marT="36000" marB="3600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r>
                        <a:rPr lang="de-DE" sz="1600" b="1" i="0" noProof="0" dirty="0">
                          <a:solidFill>
                            <a:schemeClr val="tx1"/>
                          </a:solidFill>
                        </a:rPr>
                        <a:t>Vortragender </a:t>
                      </a:r>
                    </a:p>
                  </a:txBody>
                  <a:tcPr marL="0" marR="54000" marT="36000" marB="3600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0"/>
                  </a:ext>
                </a:extLst>
              </a:tr>
              <a:tr h="492272">
                <a:tc>
                  <a:txBody>
                    <a:bodyPr/>
                    <a:lstStyle/>
                    <a:p>
                      <a:pPr marL="0" lvl="1" indent="0" algn="ctr" rtl="0">
                        <a:spcBef>
                          <a:spcPts val="200"/>
                        </a:spcBef>
                        <a:buFont typeface="Arial" panose="020B0604020202020204" pitchFamily="34" charset="0"/>
                        <a:buNone/>
                      </a:pPr>
                      <a:r>
                        <a:rPr lang="de-DE" sz="1600" b="1" noProof="0" dirty="0">
                          <a:solidFill>
                            <a:schemeClr val="tx1"/>
                          </a:solidFill>
                        </a:rPr>
                        <a:t>1</a:t>
                      </a:r>
                    </a:p>
                  </a:txBody>
                  <a:tcPr marL="0" marR="54000" marT="72000" marB="36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lvl="1" indent="0" rtl="0">
                        <a:spcBef>
                          <a:spcPts val="200"/>
                        </a:spcBef>
                        <a:buFont typeface="Arial" panose="020B0604020202020204" pitchFamily="34" charset="0"/>
                        <a:buNone/>
                      </a:pPr>
                      <a:r>
                        <a:rPr lang="de-DE" sz="1600" b="1" noProof="0" dirty="0">
                          <a:solidFill>
                            <a:schemeClr val="tx1"/>
                          </a:solidFill>
                        </a:rPr>
                        <a:t>Ziele und Projektumfang von Projekt Phönix</a:t>
                      </a:r>
                    </a:p>
                  </a:txBody>
                  <a:tcPr marL="0" marR="54000" marT="72000" marB="36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lvl="1" indent="0" rtl="0">
                        <a:spcBef>
                          <a:spcPts val="200"/>
                        </a:spcBef>
                        <a:buFont typeface="Arial" panose="020B0604020202020204" pitchFamily="34" charset="0"/>
                        <a:buNone/>
                      </a:pPr>
                      <a:r>
                        <a:rPr lang="de-DE" sz="1600" b="1" noProof="0" dirty="0">
                          <a:solidFill>
                            <a:schemeClr val="tx1"/>
                          </a:solidFill>
                        </a:rPr>
                        <a:t>Dr. Haupt</a:t>
                      </a:r>
                    </a:p>
                  </a:txBody>
                  <a:tcPr marL="0" marR="54000" marT="72000" marB="36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492688">
                <a:tc>
                  <a:txBody>
                    <a:bodyPr/>
                    <a:lstStyle/>
                    <a:p>
                      <a:pPr marL="0" lvl="1" indent="0" algn="ctr" rtl="0">
                        <a:spcBef>
                          <a:spcPts val="200"/>
                        </a:spcBef>
                        <a:buFont typeface="Arial" panose="020B0604020202020204" pitchFamily="34" charset="0"/>
                        <a:buNone/>
                      </a:pPr>
                      <a:r>
                        <a:rPr lang="de-DE" sz="1600" b="1" noProof="0" dirty="0">
                          <a:solidFill>
                            <a:schemeClr val="tx1"/>
                          </a:solidFill>
                        </a:rPr>
                        <a:t>2</a:t>
                      </a:r>
                    </a:p>
                  </a:txBody>
                  <a:tcPr marL="0" marR="54000" marT="72000" marB="36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lvl="1" indent="0" rtl="0">
                        <a:spcBef>
                          <a:spcPts val="200"/>
                        </a:spcBef>
                        <a:buFont typeface="Arial" panose="020B0604020202020204" pitchFamily="34" charset="0"/>
                        <a:buNone/>
                      </a:pPr>
                      <a:r>
                        <a:rPr lang="de-DE" sz="1600" noProof="0" dirty="0">
                          <a:solidFill>
                            <a:schemeClr val="tx1"/>
                          </a:solidFill>
                        </a:rPr>
                        <a:t>Projektorganisation Phönix</a:t>
                      </a:r>
                    </a:p>
                  </a:txBody>
                  <a:tcPr marL="0" marR="54000" marT="72000" marB="36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lvl="1" indent="0" rtl="0">
                        <a:spcBef>
                          <a:spcPts val="200"/>
                        </a:spcBef>
                        <a:buFont typeface="Arial" panose="020B0604020202020204" pitchFamily="34" charset="0"/>
                        <a:buNone/>
                      </a:pPr>
                      <a:r>
                        <a:rPr lang="de-DE" sz="1600" noProof="0" dirty="0">
                          <a:solidFill>
                            <a:schemeClr val="tx1"/>
                          </a:solidFill>
                        </a:rPr>
                        <a:t>Hr. Mayer</a:t>
                      </a:r>
                    </a:p>
                  </a:txBody>
                  <a:tcPr marL="0" marR="54000" marT="72000" marB="36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63726347"/>
                  </a:ext>
                </a:extLst>
              </a:tr>
              <a:tr h="579451">
                <a:tc>
                  <a:txBody>
                    <a:bodyPr/>
                    <a:lstStyle/>
                    <a:p>
                      <a:pPr marL="0" lvl="1" indent="0" algn="ctr" rtl="0">
                        <a:spcBef>
                          <a:spcPts val="200"/>
                        </a:spcBef>
                        <a:buFont typeface="Arial" panose="020B0604020202020204" pitchFamily="34" charset="0"/>
                        <a:buNone/>
                      </a:pPr>
                      <a:r>
                        <a:rPr lang="de-DE" sz="1600" b="1" noProof="0" dirty="0">
                          <a:solidFill>
                            <a:schemeClr val="tx1"/>
                          </a:solidFill>
                        </a:rPr>
                        <a:t>3</a:t>
                      </a:r>
                    </a:p>
                  </a:txBody>
                  <a:tcPr marL="0" marR="54000" marT="72000" marB="36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lvl="1" indent="0" rtl="0">
                        <a:spcBef>
                          <a:spcPts val="200"/>
                        </a:spcBef>
                        <a:buFont typeface="Arial" panose="020B0604020202020204" pitchFamily="34" charset="0"/>
                        <a:buNone/>
                      </a:pPr>
                      <a:r>
                        <a:rPr lang="de-DE" sz="1600" noProof="0" dirty="0">
                          <a:solidFill>
                            <a:schemeClr val="tx1"/>
                          </a:solidFill>
                        </a:rPr>
                        <a:t>Rollen, Arbeitsmodus und Projektregeln</a:t>
                      </a:r>
                    </a:p>
                  </a:txBody>
                  <a:tcPr marL="0" marR="54000" marT="72000" marB="36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lvl="1" indent="0" rtl="0">
                        <a:spcBef>
                          <a:spcPts val="200"/>
                        </a:spcBef>
                        <a:buFont typeface="Arial" panose="020B0604020202020204" pitchFamily="34" charset="0"/>
                        <a:buNone/>
                      </a:pPr>
                      <a:r>
                        <a:rPr lang="de-DE" sz="1600" noProof="0" dirty="0">
                          <a:solidFill>
                            <a:schemeClr val="tx1"/>
                          </a:solidFill>
                        </a:rPr>
                        <a:t>Hr. Mayer</a:t>
                      </a:r>
                    </a:p>
                  </a:txBody>
                  <a:tcPr marL="0" marR="54000" marT="72000" marB="36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820944074"/>
                  </a:ext>
                </a:extLst>
              </a:tr>
              <a:tr h="492688">
                <a:tc>
                  <a:txBody>
                    <a:bodyPr/>
                    <a:lstStyle/>
                    <a:p>
                      <a:pPr marL="0" lvl="1" indent="0" algn="ctr" rtl="0">
                        <a:spcBef>
                          <a:spcPts val="200"/>
                        </a:spcBef>
                        <a:buFont typeface="Arial" panose="020B0604020202020204" pitchFamily="34" charset="0"/>
                        <a:buNone/>
                      </a:pPr>
                      <a:r>
                        <a:rPr lang="de-DE" sz="1600" b="1" noProof="0" dirty="0">
                          <a:solidFill>
                            <a:schemeClr val="tx1"/>
                          </a:solidFill>
                        </a:rPr>
                        <a:t>4</a:t>
                      </a:r>
                    </a:p>
                  </a:txBody>
                  <a:tcPr marL="0" marR="54000" marT="72000" marB="36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lvl="1" indent="0" rtl="0">
                        <a:spcBef>
                          <a:spcPts val="200"/>
                        </a:spcBef>
                        <a:buFont typeface="Arial" panose="020B0604020202020204" pitchFamily="34" charset="0"/>
                        <a:buNone/>
                      </a:pPr>
                      <a:r>
                        <a:rPr lang="de-DE" sz="1600" noProof="0" dirty="0">
                          <a:solidFill>
                            <a:schemeClr val="tx1"/>
                          </a:solidFill>
                        </a:rPr>
                        <a:t>Projektplan und nächste Schritte</a:t>
                      </a:r>
                    </a:p>
                  </a:txBody>
                  <a:tcPr marL="0" marR="54000" marT="72000" marB="36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lvl="1" indent="0" rtl="0">
                        <a:spcBef>
                          <a:spcPts val="200"/>
                        </a:spcBef>
                        <a:buFont typeface="Arial" panose="020B0604020202020204" pitchFamily="34" charset="0"/>
                        <a:buNone/>
                      </a:pPr>
                      <a:r>
                        <a:rPr lang="de-DE" sz="1600" noProof="0" dirty="0">
                          <a:solidFill>
                            <a:schemeClr val="tx1"/>
                          </a:solidFill>
                        </a:rPr>
                        <a:t>Hr. Mayer</a:t>
                      </a:r>
                    </a:p>
                  </a:txBody>
                  <a:tcPr marL="0" marR="54000" marT="72000" marB="36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768467437"/>
                  </a:ext>
                </a:extLst>
              </a:tr>
            </a:tbl>
          </a:graphicData>
        </a:graphic>
      </p:graphicFrame>
    </p:spTree>
    <p:extLst>
      <p:ext uri="{BB962C8B-B14F-4D97-AF65-F5344CB8AC3E}">
        <p14:creationId xmlns:p14="http://schemas.microsoft.com/office/powerpoint/2010/main" val="416287792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5F987C95-A4ED-4F72-B551-C73C14F50343}"/>
              </a:ext>
            </a:extLst>
          </p:cNvPr>
          <p:cNvGraphicFramePr>
            <a:graphicFrameLocks noChangeAspect="1"/>
          </p:cNvGraphicFramePr>
          <p:nvPr>
            <p:custDataLst>
              <p:tags r:id="rId1"/>
            </p:custDataLst>
            <p:extLst>
              <p:ext uri="{D42A27DB-BD31-4B8C-83A1-F6EECF244321}">
                <p14:modId xmlns:p14="http://schemas.microsoft.com/office/powerpoint/2010/main" val="41456687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6" progId="TCLayout.ActiveDocument.1">
                  <p:embed/>
                </p:oleObj>
              </mc:Choice>
              <mc:Fallback>
                <p:oleObj name="think-cell Folie" r:id="rId3" imgW="425" imgH="426" progId="TCLayout.ActiveDocument.1">
                  <p:embed/>
                  <p:pic>
                    <p:nvPicPr>
                      <p:cNvPr id="5" name="Objekt 4" hidden="1">
                        <a:extLst>
                          <a:ext uri="{FF2B5EF4-FFF2-40B4-BE49-F238E27FC236}">
                            <a16:creationId xmlns:a16="http://schemas.microsoft.com/office/drawing/2014/main" id="{5F987C95-A4ED-4F72-B551-C73C14F5034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53D57545-5140-4A3C-9D72-E83217B177FF}"/>
              </a:ext>
            </a:extLst>
          </p:cNvPr>
          <p:cNvSpPr>
            <a:spLocks noGrp="1"/>
          </p:cNvSpPr>
          <p:nvPr>
            <p:ph type="title"/>
          </p:nvPr>
        </p:nvSpPr>
        <p:spPr/>
        <p:txBody>
          <a:bodyPr vert="horz"/>
          <a:lstStyle/>
          <a:p>
            <a:r>
              <a:rPr lang="de-DE" dirty="0"/>
              <a:t>Das Gesamtprojekt kann maximal den Status der Teilprojekte ausweisen</a:t>
            </a:r>
          </a:p>
        </p:txBody>
      </p:sp>
      <p:cxnSp>
        <p:nvCxnSpPr>
          <p:cNvPr id="8" name="Gerader Verbinder 7">
            <a:extLst>
              <a:ext uri="{FF2B5EF4-FFF2-40B4-BE49-F238E27FC236}">
                <a16:creationId xmlns:a16="http://schemas.microsoft.com/office/drawing/2014/main" id="{BBE91C8D-C016-4027-A56A-6287023E23DB}"/>
              </a:ext>
            </a:extLst>
          </p:cNvPr>
          <p:cNvCxnSpPr>
            <a:cxnSpLocks/>
          </p:cNvCxnSpPr>
          <p:nvPr/>
        </p:nvCxnSpPr>
        <p:spPr bwMode="gray">
          <a:xfrm>
            <a:off x="3036000" y="3048168"/>
            <a:ext cx="6660000" cy="0"/>
          </a:xfrm>
          <a:prstGeom prst="line">
            <a:avLst/>
          </a:prstGeom>
          <a:ln w="12700" cap="rnd">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9" name="Gerader Verbinder 8">
            <a:extLst>
              <a:ext uri="{FF2B5EF4-FFF2-40B4-BE49-F238E27FC236}">
                <a16:creationId xmlns:a16="http://schemas.microsoft.com/office/drawing/2014/main" id="{27D7B754-8F86-4E60-AD69-4CFF1DB24711}"/>
              </a:ext>
            </a:extLst>
          </p:cNvPr>
          <p:cNvCxnSpPr>
            <a:cxnSpLocks/>
          </p:cNvCxnSpPr>
          <p:nvPr/>
        </p:nvCxnSpPr>
        <p:spPr bwMode="gray">
          <a:xfrm flipV="1">
            <a:off x="3036000" y="3971745"/>
            <a:ext cx="6660000" cy="0"/>
          </a:xfrm>
          <a:prstGeom prst="line">
            <a:avLst/>
          </a:prstGeom>
          <a:ln w="12700" cap="rnd">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18" name="Textplatzhalter 5">
            <a:extLst>
              <a:ext uri="{FF2B5EF4-FFF2-40B4-BE49-F238E27FC236}">
                <a16:creationId xmlns:a16="http://schemas.microsoft.com/office/drawing/2014/main" id="{04F6D685-970E-47B8-9972-7140EC350C5D}"/>
              </a:ext>
            </a:extLst>
          </p:cNvPr>
          <p:cNvSpPr txBox="1">
            <a:spLocks/>
          </p:cNvSpPr>
          <p:nvPr/>
        </p:nvSpPr>
        <p:spPr bwMode="gray">
          <a:xfrm>
            <a:off x="3036000" y="4064470"/>
            <a:ext cx="6619709" cy="492443"/>
          </a:xfrm>
          <a:prstGeom prst="rect">
            <a:avLst/>
          </a:prstGeom>
        </p:spPr>
        <p:txBody>
          <a:bodyPr vert="horz" wrap="square" lIns="0" tIns="0" rIns="0" bIns="0" rtlCol="0">
            <a:spAutoFit/>
          </a:bodyPr>
          <a:lstStyle>
            <a:lvl1pPr marL="0" indent="0" algn="l" defTabSz="914400" rtl="0" eaLnBrk="1" latinLnBrk="0" hangingPunct="1">
              <a:spcBef>
                <a:spcPts val="0"/>
              </a:spcBef>
              <a:spcAft>
                <a:spcPts val="0"/>
              </a:spcAft>
              <a:buFont typeface="Arial" pitchFamily="34" charset="0"/>
              <a:buNone/>
              <a:defRPr sz="1600" kern="1200">
                <a:solidFill>
                  <a:schemeClr val="tx1"/>
                </a:solidFill>
                <a:latin typeface="+mn-lt"/>
                <a:ea typeface="+mn-ea"/>
                <a:cs typeface="+mn-cs"/>
              </a:defRPr>
            </a:lvl1pPr>
            <a:lvl2pPr marL="144000" indent="-144000" algn="l" defTabSz="914400" rtl="0" eaLnBrk="1" latinLnBrk="0" hangingPunct="1">
              <a:spcBef>
                <a:spcPts val="0"/>
              </a:spcBef>
              <a:spcAft>
                <a:spcPts val="0"/>
              </a:spcAft>
              <a:buClr>
                <a:schemeClr val="tx2"/>
              </a:buClr>
              <a:buFont typeface="Wingdings" panose="05000000000000000000" pitchFamily="2" charset="2"/>
              <a:buChar char="§"/>
              <a:defRPr sz="1600" kern="1200">
                <a:solidFill>
                  <a:schemeClr val="tx1"/>
                </a:solidFill>
                <a:latin typeface="+mn-lt"/>
                <a:ea typeface="+mn-ea"/>
                <a:cs typeface="+mn-cs"/>
              </a:defRPr>
            </a:lvl2pPr>
            <a:lvl3pPr marL="288000" indent="-144000" algn="l" defTabSz="914400" rtl="0" eaLnBrk="1" latinLnBrk="0" hangingPunct="1">
              <a:spcBef>
                <a:spcPts val="0"/>
              </a:spcBef>
              <a:spcAft>
                <a:spcPts val="0"/>
              </a:spcAft>
              <a:buFont typeface="Symbol" panose="05050102010706020507" pitchFamily="18" charset="2"/>
              <a:buChar char="-"/>
              <a:defRPr sz="1600" kern="1200">
                <a:solidFill>
                  <a:schemeClr val="tx1"/>
                </a:solidFill>
                <a:latin typeface="+mn-lt"/>
                <a:ea typeface="+mn-ea"/>
                <a:cs typeface="+mn-cs"/>
              </a:defRPr>
            </a:lvl3pPr>
            <a:lvl4pPr marL="432000" indent="-144000" algn="l" defTabSz="914400" rtl="0" eaLnBrk="1" latinLnBrk="0" hangingPunct="1">
              <a:spcBef>
                <a:spcPts val="0"/>
              </a:spcBef>
              <a:spcAft>
                <a:spcPts val="0"/>
              </a:spcAft>
              <a:buSzPct val="100000"/>
              <a:buFont typeface="Symbol" panose="05050102010706020507" pitchFamily="18" charset="2"/>
              <a:buChar char="-"/>
              <a:defRPr sz="1600" kern="1200">
                <a:solidFill>
                  <a:schemeClr val="tx1"/>
                </a:solidFill>
                <a:latin typeface="+mn-lt"/>
                <a:ea typeface="+mn-ea"/>
                <a:cs typeface="+mn-cs"/>
              </a:defRPr>
            </a:lvl4pPr>
            <a:lvl5pPr marL="576000" indent="-144000" algn="l" defTabSz="914400" rtl="0" eaLnBrk="1" latinLnBrk="0" hangingPunct="1">
              <a:spcBef>
                <a:spcPts val="0"/>
              </a:spcBef>
              <a:spcAft>
                <a:spcPts val="0"/>
              </a:spcAft>
              <a:buSzPct val="100000"/>
              <a:buFont typeface="Symbol" panose="05050102010706020507" pitchFamily="18" charset="2"/>
              <a:buChar char="-"/>
              <a:defRPr sz="1600" kern="1200">
                <a:solidFill>
                  <a:schemeClr val="tx1"/>
                </a:solidFill>
                <a:latin typeface="+mn-lt"/>
                <a:ea typeface="+mn-ea"/>
                <a:cs typeface="+mn-cs"/>
              </a:defRPr>
            </a:lvl5pPr>
            <a:lvl6pPr marL="576000" indent="-144000" algn="l" defTabSz="914400" rtl="0" eaLnBrk="1" latinLnBrk="0" hangingPunct="1">
              <a:spcBef>
                <a:spcPts val="0"/>
              </a:spcBef>
              <a:spcAft>
                <a:spcPts val="0"/>
              </a:spcAft>
              <a:buSzPct val="100000"/>
              <a:buFont typeface="Symbol" panose="05050102010706020507" pitchFamily="18" charset="2"/>
              <a:buChar char="-"/>
              <a:defRPr sz="1600" kern="1200">
                <a:solidFill>
                  <a:schemeClr val="tx1"/>
                </a:solidFill>
                <a:latin typeface="+mn-lt"/>
                <a:ea typeface="+mn-ea"/>
                <a:cs typeface="+mn-cs"/>
              </a:defRPr>
            </a:lvl6pPr>
            <a:lvl7pPr marL="576000" indent="-144000" algn="l" defTabSz="914400" rtl="0" eaLnBrk="1" latinLnBrk="0" hangingPunct="1">
              <a:spcBef>
                <a:spcPts val="0"/>
              </a:spcBef>
              <a:spcAft>
                <a:spcPts val="0"/>
              </a:spcAft>
              <a:buSzPct val="100000"/>
              <a:buFont typeface="Symbol" panose="05050102010706020507" pitchFamily="18" charset="2"/>
              <a:buChar char="-"/>
              <a:defRPr sz="1600" kern="1200" baseline="0">
                <a:solidFill>
                  <a:schemeClr val="tx1"/>
                </a:solidFill>
                <a:latin typeface="+mn-lt"/>
                <a:ea typeface="+mn-ea"/>
                <a:cs typeface="+mn-cs"/>
              </a:defRPr>
            </a:lvl7pPr>
            <a:lvl8pPr marL="576000" indent="-144000" algn="l" defTabSz="914400" rtl="0" eaLnBrk="1" latinLnBrk="0" hangingPunct="1">
              <a:spcBef>
                <a:spcPts val="0"/>
              </a:spcBef>
              <a:spcAft>
                <a:spcPts val="0"/>
              </a:spcAft>
              <a:buSzPct val="100000"/>
              <a:buFont typeface="Symbol" panose="05050102010706020507" pitchFamily="18" charset="2"/>
              <a:buChar char="-"/>
              <a:defRPr sz="1600" kern="1200">
                <a:solidFill>
                  <a:schemeClr val="tx1"/>
                </a:solidFill>
                <a:latin typeface="+mn-lt"/>
                <a:ea typeface="+mn-ea"/>
                <a:cs typeface="+mn-cs"/>
              </a:defRPr>
            </a:lvl8pPr>
            <a:lvl9pPr marL="576000" indent="-144000" algn="l" defTabSz="914400" rtl="0" eaLnBrk="1" latinLnBrk="0" hangingPunct="1">
              <a:spcBef>
                <a:spcPts val="0"/>
              </a:spcBef>
              <a:spcAft>
                <a:spcPts val="0"/>
              </a:spcAft>
              <a:buSzPct val="100000"/>
              <a:buFont typeface="Symbol" panose="05050102010706020507" pitchFamily="18" charset="2"/>
              <a:buChar char="-"/>
              <a:defRPr sz="1600" kern="1200" baseline="0">
                <a:solidFill>
                  <a:schemeClr val="tx1"/>
                </a:solidFill>
                <a:latin typeface="+mn-lt"/>
                <a:ea typeface="+mn-ea"/>
                <a:cs typeface="+mn-cs"/>
              </a:defRPr>
            </a:lvl9pPr>
          </a:lstStyle>
          <a:p>
            <a:pPr>
              <a:spcBef>
                <a:spcPts val="1200"/>
              </a:spcBef>
            </a:pPr>
            <a:r>
              <a:rPr lang="de-DE" dirty="0">
                <a:solidFill>
                  <a:schemeClr val="dk1"/>
                </a:solidFill>
              </a:rPr>
              <a:t>Es bestehen keine Abweichungen vom Plan in Bezug auf Zeit, Budget und Ergebnisse. Alle Ziele und Meilensteine werden planmäßig erreicht.</a:t>
            </a:r>
          </a:p>
        </p:txBody>
      </p:sp>
      <p:sp>
        <p:nvSpPr>
          <p:cNvPr id="16" name="Textplatzhalter 5">
            <a:extLst>
              <a:ext uri="{FF2B5EF4-FFF2-40B4-BE49-F238E27FC236}">
                <a16:creationId xmlns:a16="http://schemas.microsoft.com/office/drawing/2014/main" id="{5183802D-E9ED-4B08-9B06-91A42A6CF9F3}"/>
              </a:ext>
            </a:extLst>
          </p:cNvPr>
          <p:cNvSpPr txBox="1">
            <a:spLocks/>
          </p:cNvSpPr>
          <p:nvPr/>
        </p:nvSpPr>
        <p:spPr bwMode="gray">
          <a:xfrm>
            <a:off x="3076291" y="3140624"/>
            <a:ext cx="6619709" cy="738664"/>
          </a:xfrm>
          <a:prstGeom prst="rect">
            <a:avLst/>
          </a:prstGeom>
        </p:spPr>
        <p:txBody>
          <a:bodyPr vert="horz" wrap="square" lIns="0" tIns="0" rIns="0" bIns="0" rtlCol="0">
            <a:spAutoFit/>
          </a:bodyPr>
          <a:lstStyle>
            <a:lvl1pPr marL="0" indent="0" algn="l" defTabSz="914400" rtl="0" eaLnBrk="1" latinLnBrk="0" hangingPunct="1">
              <a:spcBef>
                <a:spcPts val="0"/>
              </a:spcBef>
              <a:spcAft>
                <a:spcPts val="0"/>
              </a:spcAft>
              <a:buFont typeface="Arial" pitchFamily="34" charset="0"/>
              <a:buNone/>
              <a:defRPr sz="1600" kern="1200">
                <a:solidFill>
                  <a:schemeClr val="tx1"/>
                </a:solidFill>
                <a:latin typeface="+mn-lt"/>
                <a:ea typeface="+mn-ea"/>
                <a:cs typeface="+mn-cs"/>
              </a:defRPr>
            </a:lvl1pPr>
            <a:lvl2pPr marL="144000" indent="-144000" algn="l" defTabSz="914400" rtl="0" eaLnBrk="1" latinLnBrk="0" hangingPunct="1">
              <a:spcBef>
                <a:spcPts val="0"/>
              </a:spcBef>
              <a:spcAft>
                <a:spcPts val="0"/>
              </a:spcAft>
              <a:buClr>
                <a:schemeClr val="tx2"/>
              </a:buClr>
              <a:buFont typeface="Wingdings" panose="05000000000000000000" pitchFamily="2" charset="2"/>
              <a:buChar char="§"/>
              <a:defRPr sz="1600" kern="1200">
                <a:solidFill>
                  <a:schemeClr val="tx1"/>
                </a:solidFill>
                <a:latin typeface="+mn-lt"/>
                <a:ea typeface="+mn-ea"/>
                <a:cs typeface="+mn-cs"/>
              </a:defRPr>
            </a:lvl2pPr>
            <a:lvl3pPr marL="288000" indent="-144000" algn="l" defTabSz="914400" rtl="0" eaLnBrk="1" latinLnBrk="0" hangingPunct="1">
              <a:spcBef>
                <a:spcPts val="0"/>
              </a:spcBef>
              <a:spcAft>
                <a:spcPts val="0"/>
              </a:spcAft>
              <a:buFont typeface="Symbol" panose="05050102010706020507" pitchFamily="18" charset="2"/>
              <a:buChar char="-"/>
              <a:defRPr sz="1600" kern="1200">
                <a:solidFill>
                  <a:schemeClr val="tx1"/>
                </a:solidFill>
                <a:latin typeface="+mn-lt"/>
                <a:ea typeface="+mn-ea"/>
                <a:cs typeface="+mn-cs"/>
              </a:defRPr>
            </a:lvl3pPr>
            <a:lvl4pPr marL="432000" indent="-144000" algn="l" defTabSz="914400" rtl="0" eaLnBrk="1" latinLnBrk="0" hangingPunct="1">
              <a:spcBef>
                <a:spcPts val="0"/>
              </a:spcBef>
              <a:spcAft>
                <a:spcPts val="0"/>
              </a:spcAft>
              <a:buSzPct val="100000"/>
              <a:buFont typeface="Symbol" panose="05050102010706020507" pitchFamily="18" charset="2"/>
              <a:buChar char="-"/>
              <a:defRPr sz="1600" kern="1200">
                <a:solidFill>
                  <a:schemeClr val="tx1"/>
                </a:solidFill>
                <a:latin typeface="+mn-lt"/>
                <a:ea typeface="+mn-ea"/>
                <a:cs typeface="+mn-cs"/>
              </a:defRPr>
            </a:lvl4pPr>
            <a:lvl5pPr marL="576000" indent="-144000" algn="l" defTabSz="914400" rtl="0" eaLnBrk="1" latinLnBrk="0" hangingPunct="1">
              <a:spcBef>
                <a:spcPts val="0"/>
              </a:spcBef>
              <a:spcAft>
                <a:spcPts val="0"/>
              </a:spcAft>
              <a:buSzPct val="100000"/>
              <a:buFont typeface="Symbol" panose="05050102010706020507" pitchFamily="18" charset="2"/>
              <a:buChar char="-"/>
              <a:defRPr sz="1600" kern="1200">
                <a:solidFill>
                  <a:schemeClr val="tx1"/>
                </a:solidFill>
                <a:latin typeface="+mn-lt"/>
                <a:ea typeface="+mn-ea"/>
                <a:cs typeface="+mn-cs"/>
              </a:defRPr>
            </a:lvl5pPr>
            <a:lvl6pPr marL="576000" indent="-144000" algn="l" defTabSz="914400" rtl="0" eaLnBrk="1" latinLnBrk="0" hangingPunct="1">
              <a:spcBef>
                <a:spcPts val="0"/>
              </a:spcBef>
              <a:spcAft>
                <a:spcPts val="0"/>
              </a:spcAft>
              <a:buSzPct val="100000"/>
              <a:buFont typeface="Symbol" panose="05050102010706020507" pitchFamily="18" charset="2"/>
              <a:buChar char="-"/>
              <a:defRPr sz="1600" kern="1200">
                <a:solidFill>
                  <a:schemeClr val="tx1"/>
                </a:solidFill>
                <a:latin typeface="+mn-lt"/>
                <a:ea typeface="+mn-ea"/>
                <a:cs typeface="+mn-cs"/>
              </a:defRPr>
            </a:lvl6pPr>
            <a:lvl7pPr marL="576000" indent="-144000" algn="l" defTabSz="914400" rtl="0" eaLnBrk="1" latinLnBrk="0" hangingPunct="1">
              <a:spcBef>
                <a:spcPts val="0"/>
              </a:spcBef>
              <a:spcAft>
                <a:spcPts val="0"/>
              </a:spcAft>
              <a:buSzPct val="100000"/>
              <a:buFont typeface="Symbol" panose="05050102010706020507" pitchFamily="18" charset="2"/>
              <a:buChar char="-"/>
              <a:defRPr sz="1600" kern="1200" baseline="0">
                <a:solidFill>
                  <a:schemeClr val="tx1"/>
                </a:solidFill>
                <a:latin typeface="+mn-lt"/>
                <a:ea typeface="+mn-ea"/>
                <a:cs typeface="+mn-cs"/>
              </a:defRPr>
            </a:lvl7pPr>
            <a:lvl8pPr marL="576000" indent="-144000" algn="l" defTabSz="914400" rtl="0" eaLnBrk="1" latinLnBrk="0" hangingPunct="1">
              <a:spcBef>
                <a:spcPts val="0"/>
              </a:spcBef>
              <a:spcAft>
                <a:spcPts val="0"/>
              </a:spcAft>
              <a:buSzPct val="100000"/>
              <a:buFont typeface="Symbol" panose="05050102010706020507" pitchFamily="18" charset="2"/>
              <a:buChar char="-"/>
              <a:defRPr sz="1600" kern="1200">
                <a:solidFill>
                  <a:schemeClr val="tx1"/>
                </a:solidFill>
                <a:latin typeface="+mn-lt"/>
                <a:ea typeface="+mn-ea"/>
                <a:cs typeface="+mn-cs"/>
              </a:defRPr>
            </a:lvl8pPr>
            <a:lvl9pPr marL="576000" indent="-144000" algn="l" defTabSz="914400" rtl="0" eaLnBrk="1" latinLnBrk="0" hangingPunct="1">
              <a:spcBef>
                <a:spcPts val="0"/>
              </a:spcBef>
              <a:spcAft>
                <a:spcPts val="0"/>
              </a:spcAft>
              <a:buSzPct val="100000"/>
              <a:buFont typeface="Symbol" panose="05050102010706020507" pitchFamily="18" charset="2"/>
              <a:buChar char="-"/>
              <a:defRPr sz="1600" kern="1200" baseline="0">
                <a:solidFill>
                  <a:schemeClr val="tx1"/>
                </a:solidFill>
                <a:latin typeface="+mn-lt"/>
                <a:ea typeface="+mn-ea"/>
                <a:cs typeface="+mn-cs"/>
              </a:defRPr>
            </a:lvl9pPr>
          </a:lstStyle>
          <a:p>
            <a:pPr>
              <a:spcBef>
                <a:spcPts val="1200"/>
              </a:spcBef>
            </a:pPr>
            <a:r>
              <a:rPr lang="de-DE" dirty="0">
                <a:solidFill>
                  <a:schemeClr val="dk1"/>
                </a:solidFill>
              </a:rPr>
              <a:t>Es bestehen Abweichungen in Bezug auf Zeit, Budget und Ergebnisse. Gegenmaßnahmen zur Erreichung der Ziele und Meilensteine wurden bzw. werden ergriffen.</a:t>
            </a:r>
          </a:p>
        </p:txBody>
      </p:sp>
      <p:sp>
        <p:nvSpPr>
          <p:cNvPr id="14" name="Textplatzhalter 5">
            <a:extLst>
              <a:ext uri="{FF2B5EF4-FFF2-40B4-BE49-F238E27FC236}">
                <a16:creationId xmlns:a16="http://schemas.microsoft.com/office/drawing/2014/main" id="{F92632D8-0A0C-4E9A-B412-2B5F2A29D7EA}"/>
              </a:ext>
            </a:extLst>
          </p:cNvPr>
          <p:cNvSpPr txBox="1">
            <a:spLocks/>
          </p:cNvSpPr>
          <p:nvPr/>
        </p:nvSpPr>
        <p:spPr bwMode="gray">
          <a:xfrm>
            <a:off x="3076290" y="2452092"/>
            <a:ext cx="6619709" cy="492443"/>
          </a:xfrm>
          <a:prstGeom prst="rect">
            <a:avLst/>
          </a:prstGeom>
        </p:spPr>
        <p:txBody>
          <a:bodyPr vert="horz" wrap="square" lIns="0" tIns="0" rIns="0" bIns="0" rtlCol="0">
            <a:spAutoFit/>
          </a:bodyPr>
          <a:lstStyle>
            <a:lvl1pPr marL="0" indent="0" algn="l" defTabSz="914400" rtl="0" eaLnBrk="1" latinLnBrk="0" hangingPunct="1">
              <a:spcBef>
                <a:spcPts val="0"/>
              </a:spcBef>
              <a:spcAft>
                <a:spcPts val="0"/>
              </a:spcAft>
              <a:buFont typeface="Arial" pitchFamily="34" charset="0"/>
              <a:buNone/>
              <a:defRPr sz="1600" kern="1200">
                <a:solidFill>
                  <a:schemeClr val="tx1"/>
                </a:solidFill>
                <a:latin typeface="+mn-lt"/>
                <a:ea typeface="+mn-ea"/>
                <a:cs typeface="+mn-cs"/>
              </a:defRPr>
            </a:lvl1pPr>
            <a:lvl2pPr marL="144000" indent="-144000" algn="l" defTabSz="914400" rtl="0" eaLnBrk="1" latinLnBrk="0" hangingPunct="1">
              <a:spcBef>
                <a:spcPts val="0"/>
              </a:spcBef>
              <a:spcAft>
                <a:spcPts val="0"/>
              </a:spcAft>
              <a:buClr>
                <a:schemeClr val="tx2"/>
              </a:buClr>
              <a:buFont typeface="Wingdings" panose="05000000000000000000" pitchFamily="2" charset="2"/>
              <a:buChar char="§"/>
              <a:defRPr sz="1600" kern="1200">
                <a:solidFill>
                  <a:schemeClr val="tx1"/>
                </a:solidFill>
                <a:latin typeface="+mn-lt"/>
                <a:ea typeface="+mn-ea"/>
                <a:cs typeface="+mn-cs"/>
              </a:defRPr>
            </a:lvl2pPr>
            <a:lvl3pPr marL="288000" indent="-144000" algn="l" defTabSz="914400" rtl="0" eaLnBrk="1" latinLnBrk="0" hangingPunct="1">
              <a:spcBef>
                <a:spcPts val="0"/>
              </a:spcBef>
              <a:spcAft>
                <a:spcPts val="0"/>
              </a:spcAft>
              <a:buFont typeface="Symbol" panose="05050102010706020507" pitchFamily="18" charset="2"/>
              <a:buChar char="-"/>
              <a:defRPr sz="1600" kern="1200">
                <a:solidFill>
                  <a:schemeClr val="tx1"/>
                </a:solidFill>
                <a:latin typeface="+mn-lt"/>
                <a:ea typeface="+mn-ea"/>
                <a:cs typeface="+mn-cs"/>
              </a:defRPr>
            </a:lvl3pPr>
            <a:lvl4pPr marL="432000" indent="-144000" algn="l" defTabSz="914400" rtl="0" eaLnBrk="1" latinLnBrk="0" hangingPunct="1">
              <a:spcBef>
                <a:spcPts val="0"/>
              </a:spcBef>
              <a:spcAft>
                <a:spcPts val="0"/>
              </a:spcAft>
              <a:buSzPct val="100000"/>
              <a:buFont typeface="Symbol" panose="05050102010706020507" pitchFamily="18" charset="2"/>
              <a:buChar char="-"/>
              <a:defRPr sz="1600" kern="1200">
                <a:solidFill>
                  <a:schemeClr val="tx1"/>
                </a:solidFill>
                <a:latin typeface="+mn-lt"/>
                <a:ea typeface="+mn-ea"/>
                <a:cs typeface="+mn-cs"/>
              </a:defRPr>
            </a:lvl4pPr>
            <a:lvl5pPr marL="576000" indent="-144000" algn="l" defTabSz="914400" rtl="0" eaLnBrk="1" latinLnBrk="0" hangingPunct="1">
              <a:spcBef>
                <a:spcPts val="0"/>
              </a:spcBef>
              <a:spcAft>
                <a:spcPts val="0"/>
              </a:spcAft>
              <a:buSzPct val="100000"/>
              <a:buFont typeface="Symbol" panose="05050102010706020507" pitchFamily="18" charset="2"/>
              <a:buChar char="-"/>
              <a:defRPr sz="1600" kern="1200">
                <a:solidFill>
                  <a:schemeClr val="tx1"/>
                </a:solidFill>
                <a:latin typeface="+mn-lt"/>
                <a:ea typeface="+mn-ea"/>
                <a:cs typeface="+mn-cs"/>
              </a:defRPr>
            </a:lvl5pPr>
            <a:lvl6pPr marL="576000" indent="-144000" algn="l" defTabSz="914400" rtl="0" eaLnBrk="1" latinLnBrk="0" hangingPunct="1">
              <a:spcBef>
                <a:spcPts val="0"/>
              </a:spcBef>
              <a:spcAft>
                <a:spcPts val="0"/>
              </a:spcAft>
              <a:buSzPct val="100000"/>
              <a:buFont typeface="Symbol" panose="05050102010706020507" pitchFamily="18" charset="2"/>
              <a:buChar char="-"/>
              <a:defRPr sz="1600" kern="1200">
                <a:solidFill>
                  <a:schemeClr val="tx1"/>
                </a:solidFill>
                <a:latin typeface="+mn-lt"/>
                <a:ea typeface="+mn-ea"/>
                <a:cs typeface="+mn-cs"/>
              </a:defRPr>
            </a:lvl6pPr>
            <a:lvl7pPr marL="576000" indent="-144000" algn="l" defTabSz="914400" rtl="0" eaLnBrk="1" latinLnBrk="0" hangingPunct="1">
              <a:spcBef>
                <a:spcPts val="0"/>
              </a:spcBef>
              <a:spcAft>
                <a:spcPts val="0"/>
              </a:spcAft>
              <a:buSzPct val="100000"/>
              <a:buFont typeface="Symbol" panose="05050102010706020507" pitchFamily="18" charset="2"/>
              <a:buChar char="-"/>
              <a:defRPr sz="1600" kern="1200" baseline="0">
                <a:solidFill>
                  <a:schemeClr val="tx1"/>
                </a:solidFill>
                <a:latin typeface="+mn-lt"/>
                <a:ea typeface="+mn-ea"/>
                <a:cs typeface="+mn-cs"/>
              </a:defRPr>
            </a:lvl7pPr>
            <a:lvl8pPr marL="576000" indent="-144000" algn="l" defTabSz="914400" rtl="0" eaLnBrk="1" latinLnBrk="0" hangingPunct="1">
              <a:spcBef>
                <a:spcPts val="0"/>
              </a:spcBef>
              <a:spcAft>
                <a:spcPts val="0"/>
              </a:spcAft>
              <a:buSzPct val="100000"/>
              <a:buFont typeface="Symbol" panose="05050102010706020507" pitchFamily="18" charset="2"/>
              <a:buChar char="-"/>
              <a:defRPr sz="1600" kern="1200">
                <a:solidFill>
                  <a:schemeClr val="tx1"/>
                </a:solidFill>
                <a:latin typeface="+mn-lt"/>
                <a:ea typeface="+mn-ea"/>
                <a:cs typeface="+mn-cs"/>
              </a:defRPr>
            </a:lvl8pPr>
            <a:lvl9pPr marL="576000" indent="-144000" algn="l" defTabSz="914400" rtl="0" eaLnBrk="1" latinLnBrk="0" hangingPunct="1">
              <a:spcBef>
                <a:spcPts val="0"/>
              </a:spcBef>
              <a:spcAft>
                <a:spcPts val="0"/>
              </a:spcAft>
              <a:buSzPct val="100000"/>
              <a:buFont typeface="Symbol" panose="05050102010706020507" pitchFamily="18" charset="2"/>
              <a:buChar char="-"/>
              <a:defRPr sz="1600" kern="1200" baseline="0">
                <a:solidFill>
                  <a:schemeClr val="tx1"/>
                </a:solidFill>
                <a:latin typeface="+mn-lt"/>
                <a:ea typeface="+mn-ea"/>
                <a:cs typeface="+mn-cs"/>
              </a:defRPr>
            </a:lvl9pPr>
          </a:lstStyle>
          <a:p>
            <a:pPr>
              <a:spcBef>
                <a:spcPts val="1200"/>
              </a:spcBef>
            </a:pPr>
            <a:r>
              <a:rPr lang="de-DE" dirty="0">
                <a:solidFill>
                  <a:schemeClr val="dk1"/>
                </a:solidFill>
              </a:rPr>
              <a:t>Es bestehen Abweichungen in Bezug auf Zeit, Budget und Ergebnisse. Gegenmaßnahmen waren erfolglos. Es besteht Handlungsbedarf im Projekt.</a:t>
            </a:r>
          </a:p>
        </p:txBody>
      </p:sp>
      <p:grpSp>
        <p:nvGrpSpPr>
          <p:cNvPr id="3" name="Gruppieren 2">
            <a:extLst>
              <a:ext uri="{FF2B5EF4-FFF2-40B4-BE49-F238E27FC236}">
                <a16:creationId xmlns:a16="http://schemas.microsoft.com/office/drawing/2014/main" id="{A3CE13D6-695B-4064-A9A8-75454E1F2C62}"/>
              </a:ext>
            </a:extLst>
          </p:cNvPr>
          <p:cNvGrpSpPr/>
          <p:nvPr/>
        </p:nvGrpSpPr>
        <p:grpSpPr>
          <a:xfrm>
            <a:off x="2136000" y="1814515"/>
            <a:ext cx="7560000" cy="310076"/>
            <a:chOff x="2496000" y="1814515"/>
            <a:chExt cx="7560000" cy="310076"/>
          </a:xfrm>
        </p:grpSpPr>
        <p:sp>
          <p:nvSpPr>
            <p:cNvPr id="19" name="Textplatzhalter 5">
              <a:extLst>
                <a:ext uri="{FF2B5EF4-FFF2-40B4-BE49-F238E27FC236}">
                  <a16:creationId xmlns:a16="http://schemas.microsoft.com/office/drawing/2014/main" id="{03987D05-0270-4C0B-82C2-F9E1561130CB}"/>
                </a:ext>
              </a:extLst>
            </p:cNvPr>
            <p:cNvSpPr txBox="1">
              <a:spLocks/>
            </p:cNvSpPr>
            <p:nvPr/>
          </p:nvSpPr>
          <p:spPr bwMode="gray">
            <a:xfrm>
              <a:off x="2496000" y="1814515"/>
              <a:ext cx="7199999" cy="246221"/>
            </a:xfrm>
            <a:prstGeom prst="rect">
              <a:avLst/>
            </a:prstGeom>
          </p:spPr>
          <p:txBody>
            <a:bodyPr vert="horz" wrap="square" lIns="0" tIns="0" rIns="0" bIns="0" rtlCol="0">
              <a:spAutoFit/>
            </a:bodyPr>
            <a:lstStyle>
              <a:lvl1pPr marL="0" indent="0" algn="l" defTabSz="914400" rtl="0" eaLnBrk="1" latinLnBrk="0" hangingPunct="1">
                <a:spcBef>
                  <a:spcPts val="0"/>
                </a:spcBef>
                <a:spcAft>
                  <a:spcPts val="0"/>
                </a:spcAft>
                <a:buFont typeface="Arial" pitchFamily="34" charset="0"/>
                <a:buNone/>
                <a:defRPr sz="1600" kern="1200">
                  <a:solidFill>
                    <a:schemeClr val="tx1"/>
                  </a:solidFill>
                  <a:latin typeface="+mn-lt"/>
                  <a:ea typeface="+mn-ea"/>
                  <a:cs typeface="+mn-cs"/>
                </a:defRPr>
              </a:lvl1pPr>
              <a:lvl2pPr marL="144000" indent="-144000" algn="l" defTabSz="914400" rtl="0" eaLnBrk="1" latinLnBrk="0" hangingPunct="1">
                <a:spcBef>
                  <a:spcPts val="0"/>
                </a:spcBef>
                <a:spcAft>
                  <a:spcPts val="0"/>
                </a:spcAft>
                <a:buClr>
                  <a:schemeClr val="tx2"/>
                </a:buClr>
                <a:buFont typeface="Wingdings" panose="05000000000000000000" pitchFamily="2" charset="2"/>
                <a:buChar char="§"/>
                <a:defRPr sz="1600" kern="1200">
                  <a:solidFill>
                    <a:schemeClr val="tx1"/>
                  </a:solidFill>
                  <a:latin typeface="+mn-lt"/>
                  <a:ea typeface="+mn-ea"/>
                  <a:cs typeface="+mn-cs"/>
                </a:defRPr>
              </a:lvl2pPr>
              <a:lvl3pPr marL="288000" indent="-144000" algn="l" defTabSz="914400" rtl="0" eaLnBrk="1" latinLnBrk="0" hangingPunct="1">
                <a:spcBef>
                  <a:spcPts val="0"/>
                </a:spcBef>
                <a:spcAft>
                  <a:spcPts val="0"/>
                </a:spcAft>
                <a:buFont typeface="Symbol" panose="05050102010706020507" pitchFamily="18" charset="2"/>
                <a:buChar char="-"/>
                <a:defRPr sz="1600" kern="1200">
                  <a:solidFill>
                    <a:schemeClr val="tx1"/>
                  </a:solidFill>
                  <a:latin typeface="+mn-lt"/>
                  <a:ea typeface="+mn-ea"/>
                  <a:cs typeface="+mn-cs"/>
                </a:defRPr>
              </a:lvl3pPr>
              <a:lvl4pPr marL="432000" indent="-144000" algn="l" defTabSz="914400" rtl="0" eaLnBrk="1" latinLnBrk="0" hangingPunct="1">
                <a:spcBef>
                  <a:spcPts val="0"/>
                </a:spcBef>
                <a:spcAft>
                  <a:spcPts val="0"/>
                </a:spcAft>
                <a:buSzPct val="100000"/>
                <a:buFont typeface="Symbol" panose="05050102010706020507" pitchFamily="18" charset="2"/>
                <a:buChar char="-"/>
                <a:defRPr sz="1600" kern="1200">
                  <a:solidFill>
                    <a:schemeClr val="tx1"/>
                  </a:solidFill>
                  <a:latin typeface="+mn-lt"/>
                  <a:ea typeface="+mn-ea"/>
                  <a:cs typeface="+mn-cs"/>
                </a:defRPr>
              </a:lvl4pPr>
              <a:lvl5pPr marL="576000" indent="-144000" algn="l" defTabSz="914400" rtl="0" eaLnBrk="1" latinLnBrk="0" hangingPunct="1">
                <a:spcBef>
                  <a:spcPts val="0"/>
                </a:spcBef>
                <a:spcAft>
                  <a:spcPts val="0"/>
                </a:spcAft>
                <a:buSzPct val="100000"/>
                <a:buFont typeface="Symbol" panose="05050102010706020507" pitchFamily="18" charset="2"/>
                <a:buChar char="-"/>
                <a:defRPr sz="1600" kern="1200">
                  <a:solidFill>
                    <a:schemeClr val="tx1"/>
                  </a:solidFill>
                  <a:latin typeface="+mn-lt"/>
                  <a:ea typeface="+mn-ea"/>
                  <a:cs typeface="+mn-cs"/>
                </a:defRPr>
              </a:lvl5pPr>
              <a:lvl6pPr marL="576000" indent="-144000" algn="l" defTabSz="914400" rtl="0" eaLnBrk="1" latinLnBrk="0" hangingPunct="1">
                <a:spcBef>
                  <a:spcPts val="0"/>
                </a:spcBef>
                <a:spcAft>
                  <a:spcPts val="0"/>
                </a:spcAft>
                <a:buSzPct val="100000"/>
                <a:buFont typeface="Symbol" panose="05050102010706020507" pitchFamily="18" charset="2"/>
                <a:buChar char="-"/>
                <a:defRPr sz="1600" kern="1200">
                  <a:solidFill>
                    <a:schemeClr val="tx1"/>
                  </a:solidFill>
                  <a:latin typeface="+mn-lt"/>
                  <a:ea typeface="+mn-ea"/>
                  <a:cs typeface="+mn-cs"/>
                </a:defRPr>
              </a:lvl6pPr>
              <a:lvl7pPr marL="576000" indent="-144000" algn="l" defTabSz="914400" rtl="0" eaLnBrk="1" latinLnBrk="0" hangingPunct="1">
                <a:spcBef>
                  <a:spcPts val="0"/>
                </a:spcBef>
                <a:spcAft>
                  <a:spcPts val="0"/>
                </a:spcAft>
                <a:buSzPct val="100000"/>
                <a:buFont typeface="Symbol" panose="05050102010706020507" pitchFamily="18" charset="2"/>
                <a:buChar char="-"/>
                <a:defRPr sz="1600" kern="1200" baseline="0">
                  <a:solidFill>
                    <a:schemeClr val="tx1"/>
                  </a:solidFill>
                  <a:latin typeface="+mn-lt"/>
                  <a:ea typeface="+mn-ea"/>
                  <a:cs typeface="+mn-cs"/>
                </a:defRPr>
              </a:lvl7pPr>
              <a:lvl8pPr marL="576000" indent="-144000" algn="l" defTabSz="914400" rtl="0" eaLnBrk="1" latinLnBrk="0" hangingPunct="1">
                <a:spcBef>
                  <a:spcPts val="0"/>
                </a:spcBef>
                <a:spcAft>
                  <a:spcPts val="0"/>
                </a:spcAft>
                <a:buSzPct val="100000"/>
                <a:buFont typeface="Symbol" panose="05050102010706020507" pitchFamily="18" charset="2"/>
                <a:buChar char="-"/>
                <a:defRPr sz="1600" kern="1200">
                  <a:solidFill>
                    <a:schemeClr val="tx1"/>
                  </a:solidFill>
                  <a:latin typeface="+mn-lt"/>
                  <a:ea typeface="+mn-ea"/>
                  <a:cs typeface="+mn-cs"/>
                </a:defRPr>
              </a:lvl8pPr>
              <a:lvl9pPr marL="576000" indent="-144000" algn="l" defTabSz="914400" rtl="0" eaLnBrk="1" latinLnBrk="0" hangingPunct="1">
                <a:spcBef>
                  <a:spcPts val="0"/>
                </a:spcBef>
                <a:spcAft>
                  <a:spcPts val="0"/>
                </a:spcAft>
                <a:buSzPct val="100000"/>
                <a:buFont typeface="Symbol" panose="05050102010706020507" pitchFamily="18" charset="2"/>
                <a:buChar char="-"/>
                <a:defRPr sz="1600" kern="1200" baseline="0">
                  <a:solidFill>
                    <a:schemeClr val="tx1"/>
                  </a:solidFill>
                  <a:latin typeface="+mn-lt"/>
                  <a:ea typeface="+mn-ea"/>
                  <a:cs typeface="+mn-cs"/>
                </a:defRPr>
              </a:lvl9pPr>
            </a:lstStyle>
            <a:p>
              <a:pPr>
                <a:spcBef>
                  <a:spcPts val="1200"/>
                </a:spcBef>
              </a:pPr>
              <a:r>
                <a:rPr lang="de-DE" b="1" dirty="0">
                  <a:solidFill>
                    <a:schemeClr val="dk1"/>
                  </a:solidFill>
                </a:rPr>
                <a:t>Definitionen des Projektstatus </a:t>
              </a:r>
            </a:p>
          </p:txBody>
        </p:sp>
        <p:cxnSp>
          <p:nvCxnSpPr>
            <p:cNvPr id="20" name="Gerader Verbinder 19">
              <a:extLst>
                <a:ext uri="{FF2B5EF4-FFF2-40B4-BE49-F238E27FC236}">
                  <a16:creationId xmlns:a16="http://schemas.microsoft.com/office/drawing/2014/main" id="{475A11A2-49FF-4E04-B7E0-E59E41D96EAB}"/>
                </a:ext>
              </a:extLst>
            </p:cNvPr>
            <p:cNvCxnSpPr>
              <a:cxnSpLocks/>
            </p:cNvCxnSpPr>
            <p:nvPr/>
          </p:nvCxnSpPr>
          <p:spPr bwMode="gray">
            <a:xfrm>
              <a:off x="2496000" y="2124591"/>
              <a:ext cx="7560000" cy="0"/>
            </a:xfrm>
            <a:prstGeom prst="line">
              <a:avLst/>
            </a:prstGeom>
            <a:ln w="12700" cap="rnd">
              <a:solidFill>
                <a:schemeClr val="tx1"/>
              </a:solidFill>
              <a:prstDash val="solid"/>
            </a:ln>
          </p:spPr>
          <p:style>
            <a:lnRef idx="1">
              <a:schemeClr val="accent1"/>
            </a:lnRef>
            <a:fillRef idx="0">
              <a:schemeClr val="accent1"/>
            </a:fillRef>
            <a:effectRef idx="0">
              <a:schemeClr val="accent1"/>
            </a:effectRef>
            <a:fontRef idx="minor">
              <a:schemeClr val="tx1"/>
            </a:fontRef>
          </p:style>
        </p:cxnSp>
      </p:grpSp>
      <p:sp>
        <p:nvSpPr>
          <p:cNvPr id="23" name="Rechteck 22">
            <a:extLst>
              <a:ext uri="{FF2B5EF4-FFF2-40B4-BE49-F238E27FC236}">
                <a16:creationId xmlns:a16="http://schemas.microsoft.com/office/drawing/2014/main" id="{08006145-E86D-4C9C-A7DE-6BE27C8A2F18}"/>
              </a:ext>
            </a:extLst>
          </p:cNvPr>
          <p:cNvSpPr/>
          <p:nvPr/>
        </p:nvSpPr>
        <p:spPr>
          <a:xfrm>
            <a:off x="10954961" y="69705"/>
            <a:ext cx="900000" cy="252000"/>
          </a:xfrm>
          <a:prstGeom prst="rect">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b="1" dirty="0"/>
              <a:t>Entwurf</a:t>
            </a:r>
          </a:p>
        </p:txBody>
      </p:sp>
      <p:sp>
        <p:nvSpPr>
          <p:cNvPr id="27" name="Textfeld 26">
            <a:extLst>
              <a:ext uri="{FF2B5EF4-FFF2-40B4-BE49-F238E27FC236}">
                <a16:creationId xmlns:a16="http://schemas.microsoft.com/office/drawing/2014/main" id="{FCDA8997-59CD-4C6C-9FCF-BD3522471489}"/>
              </a:ext>
            </a:extLst>
          </p:cNvPr>
          <p:cNvSpPr txBox="1"/>
          <p:nvPr/>
        </p:nvSpPr>
        <p:spPr>
          <a:xfrm>
            <a:off x="334963" y="6544666"/>
            <a:ext cx="1380506" cy="215444"/>
          </a:xfrm>
          <a:prstGeom prst="rect">
            <a:avLst/>
          </a:prstGeom>
          <a:noFill/>
        </p:spPr>
        <p:txBody>
          <a:bodyPr wrap="none" rtlCol="0" anchor="b">
            <a:spAutoFit/>
          </a:bodyPr>
          <a:lstStyle/>
          <a:p>
            <a:r>
              <a:rPr lang="de-DE" sz="800" dirty="0"/>
              <a:t>Quelle: Projektteam Phönix</a:t>
            </a:r>
          </a:p>
        </p:txBody>
      </p:sp>
      <p:sp>
        <p:nvSpPr>
          <p:cNvPr id="4" name="Rechteck: abgerundete Ecken 3">
            <a:extLst>
              <a:ext uri="{FF2B5EF4-FFF2-40B4-BE49-F238E27FC236}">
                <a16:creationId xmlns:a16="http://schemas.microsoft.com/office/drawing/2014/main" id="{476288C4-1A4D-44FB-9D4B-2220D896AD21}"/>
              </a:ext>
            </a:extLst>
          </p:cNvPr>
          <p:cNvSpPr/>
          <p:nvPr/>
        </p:nvSpPr>
        <p:spPr>
          <a:xfrm>
            <a:off x="2136000" y="2340157"/>
            <a:ext cx="720000" cy="2339598"/>
          </a:xfrm>
          <a:prstGeom prst="roundRect">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6" name="Ellipse 5">
            <a:extLst>
              <a:ext uri="{FF2B5EF4-FFF2-40B4-BE49-F238E27FC236}">
                <a16:creationId xmlns:a16="http://schemas.microsoft.com/office/drawing/2014/main" id="{776A35D8-BE86-4782-A228-D7504F264ADE}"/>
              </a:ext>
            </a:extLst>
          </p:cNvPr>
          <p:cNvSpPr/>
          <p:nvPr/>
        </p:nvSpPr>
        <p:spPr>
          <a:xfrm>
            <a:off x="2244000" y="4052913"/>
            <a:ext cx="504000" cy="504000"/>
          </a:xfrm>
          <a:prstGeom prst="ellipse">
            <a:avLst/>
          </a:prstGeom>
          <a:solidFill>
            <a:srgbClr val="00B050"/>
          </a:solidFill>
        </p:spPr>
        <p:txBody>
          <a:bodyPr vert="horz" wrap="square" lIns="0" tIns="36000" rIns="0" bIns="36000" rtlCol="0" anchor="ctr">
            <a:noAutofit/>
          </a:bodyPr>
          <a:lstStyle/>
          <a:p>
            <a:pPr algn="ctr"/>
            <a:r>
              <a:rPr lang="de-DE" sz="1000" b="1" dirty="0">
                <a:latin typeface="+mj-lt"/>
              </a:rPr>
              <a:t>Grün</a:t>
            </a:r>
          </a:p>
        </p:txBody>
      </p:sp>
      <p:sp>
        <p:nvSpPr>
          <p:cNvPr id="24" name="Ellipse 23">
            <a:extLst>
              <a:ext uri="{FF2B5EF4-FFF2-40B4-BE49-F238E27FC236}">
                <a16:creationId xmlns:a16="http://schemas.microsoft.com/office/drawing/2014/main" id="{63146DCD-2E36-4527-871D-C324E56E002E}"/>
              </a:ext>
            </a:extLst>
          </p:cNvPr>
          <p:cNvSpPr/>
          <p:nvPr/>
        </p:nvSpPr>
        <p:spPr>
          <a:xfrm>
            <a:off x="2244000" y="2440535"/>
            <a:ext cx="504000" cy="504000"/>
          </a:xfrm>
          <a:prstGeom prst="ellipse">
            <a:avLst/>
          </a:prstGeom>
          <a:solidFill>
            <a:srgbClr val="FF0000"/>
          </a:solidFill>
        </p:spPr>
        <p:txBody>
          <a:bodyPr vert="horz" wrap="square" lIns="0" tIns="36000" rIns="0" bIns="36000" rtlCol="0" anchor="ctr">
            <a:noAutofit/>
          </a:bodyPr>
          <a:lstStyle/>
          <a:p>
            <a:pPr algn="ctr"/>
            <a:r>
              <a:rPr lang="de-DE" sz="1000" b="1" dirty="0">
                <a:latin typeface="+mj-lt"/>
              </a:rPr>
              <a:t>Rot</a:t>
            </a:r>
          </a:p>
        </p:txBody>
      </p:sp>
      <p:sp>
        <p:nvSpPr>
          <p:cNvPr id="25" name="Ellipse 24">
            <a:extLst>
              <a:ext uri="{FF2B5EF4-FFF2-40B4-BE49-F238E27FC236}">
                <a16:creationId xmlns:a16="http://schemas.microsoft.com/office/drawing/2014/main" id="{52FCB073-43BC-444B-B1F4-BD1FFD070FD7}"/>
              </a:ext>
            </a:extLst>
          </p:cNvPr>
          <p:cNvSpPr/>
          <p:nvPr/>
        </p:nvSpPr>
        <p:spPr>
          <a:xfrm>
            <a:off x="2244000" y="3246724"/>
            <a:ext cx="504000" cy="504000"/>
          </a:xfrm>
          <a:prstGeom prst="ellipse">
            <a:avLst/>
          </a:prstGeom>
          <a:solidFill>
            <a:srgbClr val="FFFF00"/>
          </a:solidFill>
        </p:spPr>
        <p:txBody>
          <a:bodyPr vert="horz" wrap="square" lIns="0" tIns="36000" rIns="0" bIns="36000" rtlCol="0" anchor="ctr">
            <a:noAutofit/>
          </a:bodyPr>
          <a:lstStyle/>
          <a:p>
            <a:pPr algn="ctr"/>
            <a:r>
              <a:rPr lang="de-DE" sz="1000" b="1" dirty="0">
                <a:latin typeface="+mj-lt"/>
              </a:rPr>
              <a:t>Gelb</a:t>
            </a:r>
          </a:p>
        </p:txBody>
      </p:sp>
    </p:spTree>
    <p:extLst>
      <p:ext uri="{BB962C8B-B14F-4D97-AF65-F5344CB8AC3E}">
        <p14:creationId xmlns:p14="http://schemas.microsoft.com/office/powerpoint/2010/main" val="229227863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feld 4">
            <a:extLst>
              <a:ext uri="{FF2B5EF4-FFF2-40B4-BE49-F238E27FC236}">
                <a16:creationId xmlns:a16="http://schemas.microsoft.com/office/drawing/2014/main" id="{28F20F95-7F03-440B-B47C-B1F7B4508CB0}"/>
              </a:ext>
            </a:extLst>
          </p:cNvPr>
          <p:cNvSpPr txBox="1"/>
          <p:nvPr/>
        </p:nvSpPr>
        <p:spPr>
          <a:xfrm>
            <a:off x="5075854" y="889843"/>
            <a:ext cx="6781186" cy="5663089"/>
          </a:xfrm>
          <a:prstGeom prst="rect">
            <a:avLst/>
          </a:prstGeom>
          <a:noFill/>
        </p:spPr>
        <p:txBody>
          <a:bodyPr wrap="square">
            <a:spAutoFit/>
          </a:bodyPr>
          <a:lstStyle/>
          <a:p>
            <a:pPr algn="ctr"/>
            <a:r>
              <a:rPr lang="de-DE" sz="1400" b="1" dirty="0">
                <a:solidFill>
                  <a:schemeClr val="accent2"/>
                </a:solidFill>
                <a:effectLst/>
              </a:rPr>
              <a:t>„Projekte in 9 Schritten vorbereiten“ von Frederick King</a:t>
            </a:r>
          </a:p>
          <a:p>
            <a:pPr algn="ctr"/>
            <a:endParaRPr lang="de-DE" sz="1200" b="1" dirty="0"/>
          </a:p>
          <a:p>
            <a:pPr algn="ctr"/>
            <a:endParaRPr lang="de-DE" sz="1200" b="1" i="1" dirty="0"/>
          </a:p>
          <a:p>
            <a:pPr algn="ctr"/>
            <a:r>
              <a:rPr lang="de-DE" sz="1200" i="1" dirty="0">
                <a:effectLst/>
              </a:rPr>
              <a:t>„Wie bereite ich Projekte im Unternehmensumfeld optimal vor, um bereits frühzeitig Risiken zu antizipieren und gleichzeitig effizient zu sein?"</a:t>
            </a:r>
            <a:br>
              <a:rPr lang="de-DE" sz="1200" dirty="0">
                <a:effectLst/>
              </a:rPr>
            </a:br>
            <a:endParaRPr lang="de-DE" sz="1200" dirty="0">
              <a:effectLst/>
            </a:endParaRPr>
          </a:p>
          <a:p>
            <a:r>
              <a:rPr lang="de-DE" sz="1200" dirty="0">
                <a:effectLst/>
              </a:rPr>
              <a:t>​</a:t>
            </a:r>
          </a:p>
          <a:p>
            <a:r>
              <a:rPr lang="de-DE" sz="1200" dirty="0">
                <a:effectLst/>
              </a:rPr>
              <a:t>Das ist die zentrale Frage, die ich in meinem Buch anhand einer Geschichte für dich beantworte: </a:t>
            </a:r>
          </a:p>
          <a:p>
            <a:br>
              <a:rPr lang="de-DE" sz="1200" dirty="0">
                <a:effectLst/>
              </a:rPr>
            </a:br>
            <a:r>
              <a:rPr lang="de-DE" sz="1200" dirty="0">
                <a:effectLst/>
              </a:rPr>
              <a:t>Michael war mehrere Jahre in der Unternehmensberatung und hilft seinem Kollegen Robert dessen aktuelles Projekt vorzubereiten. Dabei werden typische Projektrisiken bereits in der Vorbereitung angesprochen, antizipiert und praktische Vorlagen mitgeliefert, sodass das Projekt mit wenig Aufwand strukturiert vorbereitet wird.</a:t>
            </a:r>
          </a:p>
          <a:p>
            <a:r>
              <a:rPr lang="de-DE" sz="1200" dirty="0">
                <a:effectLst/>
              </a:rPr>
              <a:t>​</a:t>
            </a:r>
          </a:p>
          <a:p>
            <a:r>
              <a:rPr lang="de-DE" sz="1200" dirty="0">
                <a:effectLst/>
              </a:rPr>
              <a:t>Nein, es handelt sich nicht um noch ein Buch zum Thema "Projektmanagement", sondern zeigt dir, wie Unternehmensberater pragmatisch Projekte vorbereiten. Dazu werden praktische Methoden und Vorlagen für die Projektvorbereitung mitgeliefert, die du sofort in deinem Projekt nutzen kannst. </a:t>
            </a:r>
          </a:p>
          <a:p>
            <a:br>
              <a:rPr lang="de-DE" sz="1200" dirty="0">
                <a:effectLst/>
              </a:rPr>
            </a:br>
            <a:r>
              <a:rPr lang="de-DE" sz="1200" dirty="0">
                <a:effectLst/>
              </a:rPr>
              <a:t>Daher</a:t>
            </a:r>
            <a:r>
              <a:rPr lang="de-DE" sz="1200" b="1" dirty="0">
                <a:effectLst/>
              </a:rPr>
              <a:t> eignet sich das Buch </a:t>
            </a:r>
            <a:r>
              <a:rPr lang="de-DE" sz="1200" dirty="0">
                <a:effectLst/>
              </a:rPr>
              <a:t>besonders</a:t>
            </a:r>
            <a:r>
              <a:rPr lang="de-DE" sz="1200" b="1" dirty="0">
                <a:effectLst/>
              </a:rPr>
              <a:t> für dich als Führungskraft, Projektleiter, Projektmitarbeiter und Berater</a:t>
            </a:r>
            <a:r>
              <a:rPr lang="de-DE" sz="1200" dirty="0">
                <a:effectLst/>
              </a:rPr>
              <a:t>.</a:t>
            </a:r>
          </a:p>
          <a:p>
            <a:endParaRPr lang="de-DE" sz="1200" dirty="0">
              <a:effectLst/>
            </a:endParaRPr>
          </a:p>
          <a:p>
            <a:r>
              <a:rPr lang="de-DE" sz="1200" dirty="0">
                <a:effectLst/>
              </a:rPr>
              <a:t>In über 20 Projekten als Unternehmensberater habe ich oft auf die harte Tour gelernt, wie Projekte optimal vorbereitet werden müssen. Lerne aus meinen Erfahrungen und greife auf den </a:t>
            </a:r>
            <a:r>
              <a:rPr lang="de-DE" sz="1200" b="1" dirty="0">
                <a:effectLst/>
              </a:rPr>
              <a:t>Methodenbaukasten der Consulting-University</a:t>
            </a:r>
            <a:r>
              <a:rPr lang="de-DE" sz="1200" dirty="0">
                <a:effectLst/>
              </a:rPr>
              <a:t> zurück.</a:t>
            </a:r>
          </a:p>
          <a:p>
            <a:endParaRPr lang="de-DE" sz="1200" b="1" dirty="0">
              <a:solidFill>
                <a:schemeClr val="accent2"/>
              </a:solidFill>
            </a:endParaRPr>
          </a:p>
          <a:p>
            <a:endParaRPr lang="de-DE" sz="1200" b="1" dirty="0">
              <a:solidFill>
                <a:schemeClr val="accent2"/>
              </a:solidFill>
            </a:endParaRPr>
          </a:p>
          <a:p>
            <a:r>
              <a:rPr lang="de-DE" sz="1200" b="1" dirty="0">
                <a:solidFill>
                  <a:schemeClr val="accent2"/>
                </a:solidFill>
                <a:effectLst/>
              </a:rPr>
              <a:t>Eine genaue Erklärung der Folien findest du übrigens in meinem Buch, das</a:t>
            </a:r>
            <a:r>
              <a:rPr lang="de-DE" sz="1200" b="1" dirty="0">
                <a:solidFill>
                  <a:schemeClr val="accent2"/>
                </a:solidFill>
              </a:rPr>
              <a:t> du auf </a:t>
            </a:r>
            <a:r>
              <a:rPr lang="de-DE" sz="1200" b="1" dirty="0">
                <a:solidFill>
                  <a:schemeClr val="accent2"/>
                </a:solidFill>
                <a:hlinkClick r:id="rId2"/>
              </a:rPr>
              <a:t>www.Amazon.de  </a:t>
            </a:r>
            <a:r>
              <a:rPr lang="de-DE" sz="1200" b="1" dirty="0">
                <a:solidFill>
                  <a:schemeClr val="accent2"/>
                </a:solidFill>
              </a:rPr>
              <a:t>kaufen kannst.</a:t>
            </a:r>
            <a:r>
              <a:rPr lang="de-DE" sz="1200" b="1" dirty="0">
                <a:solidFill>
                  <a:schemeClr val="accent2"/>
                </a:solidFill>
                <a:effectLst/>
              </a:rPr>
              <a:t>​</a:t>
            </a:r>
          </a:p>
          <a:p>
            <a:endParaRPr lang="de-DE" sz="1200" b="1" dirty="0">
              <a:solidFill>
                <a:schemeClr val="accent2"/>
              </a:solidFill>
            </a:endParaRPr>
          </a:p>
          <a:p>
            <a:r>
              <a:rPr lang="de-DE" sz="1000" i="1" dirty="0"/>
              <a:t>Alle genutzten Namen sind fiktiv und frei erfunden, genauso wie alle Projektinhalte auf den Folien. </a:t>
            </a:r>
            <a:endParaRPr lang="de-DE" sz="1000" i="1" dirty="0">
              <a:effectLst/>
            </a:endParaRPr>
          </a:p>
        </p:txBody>
      </p:sp>
      <p:pic>
        <p:nvPicPr>
          <p:cNvPr id="7" name="Grafik 6">
            <a:hlinkClick r:id="rId2"/>
            <a:extLst>
              <a:ext uri="{FF2B5EF4-FFF2-40B4-BE49-F238E27FC236}">
                <a16:creationId xmlns:a16="http://schemas.microsoft.com/office/drawing/2014/main" id="{5CAC8028-CF08-4D12-A9AC-19B866BC42EC}"/>
              </a:ext>
            </a:extLst>
          </p:cNvPr>
          <p:cNvPicPr>
            <a:picLocks noChangeAspect="1"/>
          </p:cNvPicPr>
          <p:nvPr/>
        </p:nvPicPr>
        <p:blipFill rotWithShape="1">
          <a:blip r:embed="rId3">
            <a:extLst>
              <a:ext uri="{28A0092B-C50C-407E-A947-70E740481C1C}">
                <a14:useLocalDpi xmlns:a14="http://schemas.microsoft.com/office/drawing/2010/main" val="0"/>
              </a:ext>
            </a:extLst>
          </a:blip>
          <a:srcRect l="51069"/>
          <a:stretch/>
        </p:blipFill>
        <p:spPr>
          <a:xfrm>
            <a:off x="705756" y="883324"/>
            <a:ext cx="3746975" cy="5638830"/>
          </a:xfrm>
          <a:prstGeom prst="rect">
            <a:avLst/>
          </a:prstGeom>
          <a:ln>
            <a:solidFill>
              <a:schemeClr val="tx1"/>
            </a:solidFill>
          </a:ln>
        </p:spPr>
      </p:pic>
    </p:spTree>
    <p:extLst>
      <p:ext uri="{BB962C8B-B14F-4D97-AF65-F5344CB8AC3E}">
        <p14:creationId xmlns:p14="http://schemas.microsoft.com/office/powerpoint/2010/main" val="409380569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9" name="Objekt 58" hidden="1">
            <a:extLst>
              <a:ext uri="{FF2B5EF4-FFF2-40B4-BE49-F238E27FC236}">
                <a16:creationId xmlns:a16="http://schemas.microsoft.com/office/drawing/2014/main" id="{60528071-3734-46B2-8DCF-360C1F77A78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25" imgH="426" progId="TCLayout.ActiveDocument.1">
                  <p:embed/>
                </p:oleObj>
              </mc:Choice>
              <mc:Fallback>
                <p:oleObj name="think-cell Folie" r:id="rId4" imgW="425" imgH="426" progId="TCLayout.ActiveDocument.1">
                  <p:embed/>
                  <p:pic>
                    <p:nvPicPr>
                      <p:cNvPr id="59" name="Objekt 58" hidden="1">
                        <a:extLst>
                          <a:ext uri="{FF2B5EF4-FFF2-40B4-BE49-F238E27FC236}">
                            <a16:creationId xmlns:a16="http://schemas.microsoft.com/office/drawing/2014/main" id="{60528071-3734-46B2-8DCF-360C1F77A78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294BDE24-F7BA-44EF-8B87-377957F26EE4}"/>
              </a:ext>
            </a:extLst>
          </p:cNvPr>
          <p:cNvSpPr>
            <a:spLocks noGrp="1"/>
          </p:cNvSpPr>
          <p:nvPr>
            <p:ph type="title"/>
          </p:nvPr>
        </p:nvSpPr>
        <p:spPr>
          <a:xfrm>
            <a:off x="334963" y="333374"/>
            <a:ext cx="11520000" cy="540000"/>
          </a:xfrm>
        </p:spPr>
        <p:txBody>
          <a:bodyPr vert="horz"/>
          <a:lstStyle/>
          <a:p>
            <a:r>
              <a:rPr lang="de-DE" dirty="0"/>
              <a:t>Entscheidungs- und Eskalationsreihenfolge für das Projekt Phönix</a:t>
            </a:r>
          </a:p>
        </p:txBody>
      </p:sp>
      <p:sp>
        <p:nvSpPr>
          <p:cNvPr id="49" name="Rechteck 48">
            <a:extLst>
              <a:ext uri="{FF2B5EF4-FFF2-40B4-BE49-F238E27FC236}">
                <a16:creationId xmlns:a16="http://schemas.microsoft.com/office/drawing/2014/main" id="{0FB76FBD-4E7C-45D7-8741-1902748D0BCC}"/>
              </a:ext>
            </a:extLst>
          </p:cNvPr>
          <p:cNvSpPr/>
          <p:nvPr/>
        </p:nvSpPr>
        <p:spPr>
          <a:xfrm>
            <a:off x="10954961" y="69705"/>
            <a:ext cx="900000" cy="252000"/>
          </a:xfrm>
          <a:prstGeom prst="rect">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b="1" dirty="0"/>
              <a:t>Entwurf</a:t>
            </a:r>
          </a:p>
        </p:txBody>
      </p:sp>
      <p:sp>
        <p:nvSpPr>
          <p:cNvPr id="51" name="Textfeld 50">
            <a:extLst>
              <a:ext uri="{FF2B5EF4-FFF2-40B4-BE49-F238E27FC236}">
                <a16:creationId xmlns:a16="http://schemas.microsoft.com/office/drawing/2014/main" id="{5D0FE15E-1E4D-49CF-BFA0-2C4D4D3CB3E6}"/>
              </a:ext>
            </a:extLst>
          </p:cNvPr>
          <p:cNvSpPr txBox="1"/>
          <p:nvPr/>
        </p:nvSpPr>
        <p:spPr>
          <a:xfrm>
            <a:off x="334963" y="6544666"/>
            <a:ext cx="1380506" cy="215444"/>
          </a:xfrm>
          <a:prstGeom prst="rect">
            <a:avLst/>
          </a:prstGeom>
          <a:noFill/>
        </p:spPr>
        <p:txBody>
          <a:bodyPr wrap="none" rtlCol="0" anchor="b">
            <a:spAutoFit/>
          </a:bodyPr>
          <a:lstStyle/>
          <a:p>
            <a:r>
              <a:rPr lang="de-DE" sz="800" dirty="0"/>
              <a:t>Quelle: Projektteam Phönix</a:t>
            </a:r>
          </a:p>
        </p:txBody>
      </p:sp>
      <p:grpSp>
        <p:nvGrpSpPr>
          <p:cNvPr id="80" name="Gruppieren 79">
            <a:extLst>
              <a:ext uri="{FF2B5EF4-FFF2-40B4-BE49-F238E27FC236}">
                <a16:creationId xmlns:a16="http://schemas.microsoft.com/office/drawing/2014/main" id="{BE868596-D53B-4DA1-AC3F-72C83B9C819A}"/>
              </a:ext>
            </a:extLst>
          </p:cNvPr>
          <p:cNvGrpSpPr/>
          <p:nvPr/>
        </p:nvGrpSpPr>
        <p:grpSpPr>
          <a:xfrm>
            <a:off x="1547302" y="2477184"/>
            <a:ext cx="9097396" cy="2574585"/>
            <a:chOff x="1406873" y="2477184"/>
            <a:chExt cx="9097396" cy="2574585"/>
          </a:xfrm>
        </p:grpSpPr>
        <p:cxnSp>
          <p:nvCxnSpPr>
            <p:cNvPr id="48" name="Gerade Verbindung mit Pfeil 47">
              <a:extLst>
                <a:ext uri="{FF2B5EF4-FFF2-40B4-BE49-F238E27FC236}">
                  <a16:creationId xmlns:a16="http://schemas.microsoft.com/office/drawing/2014/main" id="{5B6481B3-1B3F-4454-97BD-30BD09D7335A}"/>
                </a:ext>
              </a:extLst>
            </p:cNvPr>
            <p:cNvCxnSpPr>
              <a:stCxn id="54" idx="6"/>
              <a:endCxn id="74" idx="2"/>
            </p:cNvCxnSpPr>
            <p:nvPr/>
          </p:nvCxnSpPr>
          <p:spPr>
            <a:xfrm>
              <a:off x="2569922" y="3147772"/>
              <a:ext cx="6771298" cy="0"/>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22" name="Gruppieren 21">
              <a:extLst>
                <a:ext uri="{FF2B5EF4-FFF2-40B4-BE49-F238E27FC236}">
                  <a16:creationId xmlns:a16="http://schemas.microsoft.com/office/drawing/2014/main" id="{9A7CB383-721C-4D2E-9FEF-756F78A749D9}"/>
                </a:ext>
              </a:extLst>
            </p:cNvPr>
            <p:cNvGrpSpPr/>
            <p:nvPr/>
          </p:nvGrpSpPr>
          <p:grpSpPr>
            <a:xfrm>
              <a:off x="1406873" y="2477185"/>
              <a:ext cx="1800000" cy="2359141"/>
              <a:chOff x="1406873" y="2477185"/>
              <a:chExt cx="1800000" cy="2359141"/>
            </a:xfrm>
          </p:grpSpPr>
          <p:sp>
            <p:nvSpPr>
              <p:cNvPr id="52" name="Textplatzhalter 5">
                <a:extLst>
                  <a:ext uri="{FF2B5EF4-FFF2-40B4-BE49-F238E27FC236}">
                    <a16:creationId xmlns:a16="http://schemas.microsoft.com/office/drawing/2014/main" id="{9D03F55D-4806-4A4C-82FD-3A70E4354119}"/>
                  </a:ext>
                </a:extLst>
              </p:cNvPr>
              <p:cNvSpPr txBox="1">
                <a:spLocks/>
              </p:cNvSpPr>
              <p:nvPr/>
            </p:nvSpPr>
            <p:spPr>
              <a:xfrm>
                <a:off x="1559400" y="2477185"/>
                <a:ext cx="1494946" cy="246221"/>
              </a:xfrm>
              <a:prstGeom prst="rect">
                <a:avLst/>
              </a:prstGeom>
            </p:spPr>
            <p:txBody>
              <a:bodyPr vert="horz" wrap="square" lIns="0" tIns="0" rIns="0" bIns="0" rtlCol="0" anchor="b">
                <a:spAutoFit/>
              </a:bodyPr>
              <a:lstStyle>
                <a:lvl1pPr marL="0" indent="0" algn="l" defTabSz="914400" rtl="0" eaLnBrk="1" latinLnBrk="0" hangingPunct="1">
                  <a:spcBef>
                    <a:spcPts val="0"/>
                  </a:spcBef>
                  <a:spcAft>
                    <a:spcPts val="0"/>
                  </a:spcAft>
                  <a:buFont typeface="Arial" pitchFamily="34" charset="0"/>
                  <a:buNone/>
                  <a:defRPr sz="1600" kern="1200">
                    <a:solidFill>
                      <a:schemeClr val="tx1"/>
                    </a:solidFill>
                    <a:latin typeface="+mn-lt"/>
                    <a:ea typeface="+mn-ea"/>
                    <a:cs typeface="+mn-cs"/>
                  </a:defRPr>
                </a:lvl1pPr>
                <a:lvl2pPr marL="144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2pPr>
                <a:lvl3pPr marL="288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3pPr>
                <a:lvl4pPr marL="432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4pPr>
                <a:lvl5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5pPr>
                <a:lvl6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6pPr>
                <a:lvl7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7pPr>
                <a:lvl8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8pPr>
                <a:lvl9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9pPr>
              </a:lstStyle>
              <a:p>
                <a:pPr algn="ctr"/>
                <a:r>
                  <a:rPr lang="de-DE" b="1" dirty="0"/>
                  <a:t>Teilprojektleiter</a:t>
                </a:r>
              </a:p>
            </p:txBody>
          </p:sp>
          <p:grpSp>
            <p:nvGrpSpPr>
              <p:cNvPr id="53" name="Gruppieren 52">
                <a:extLst>
                  <a:ext uri="{FF2B5EF4-FFF2-40B4-BE49-F238E27FC236}">
                    <a16:creationId xmlns:a16="http://schemas.microsoft.com/office/drawing/2014/main" id="{B57F4755-A546-4A6C-B0D4-0B5C217B3BF0}"/>
                  </a:ext>
                </a:extLst>
              </p:cNvPr>
              <p:cNvGrpSpPr/>
              <p:nvPr/>
            </p:nvGrpSpPr>
            <p:grpSpPr>
              <a:xfrm>
                <a:off x="2043824" y="2884723"/>
                <a:ext cx="526098" cy="526098"/>
                <a:chOff x="1216977" y="4027653"/>
                <a:chExt cx="526098" cy="526098"/>
              </a:xfrm>
              <a:solidFill>
                <a:schemeClr val="tx2"/>
              </a:solidFill>
            </p:grpSpPr>
            <p:sp>
              <p:nvSpPr>
                <p:cNvPr id="54" name="Ellipse 53">
                  <a:extLst>
                    <a:ext uri="{FF2B5EF4-FFF2-40B4-BE49-F238E27FC236}">
                      <a16:creationId xmlns:a16="http://schemas.microsoft.com/office/drawing/2014/main" id="{97BDDE41-BC1D-4BB5-AA5A-AD2CBA0D964B}"/>
                    </a:ext>
                  </a:extLst>
                </p:cNvPr>
                <p:cNvSpPr/>
                <p:nvPr/>
              </p:nvSpPr>
              <p:spPr>
                <a:xfrm>
                  <a:off x="1216977" y="4027653"/>
                  <a:ext cx="526098" cy="526098"/>
                </a:xfrm>
                <a:prstGeom prst="ellipse">
                  <a:avLst/>
                </a:prstGeom>
                <a:grp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de-DE" sz="1600" b="1" dirty="0">
                    <a:solidFill>
                      <a:schemeClr val="bg1"/>
                    </a:solidFill>
                    <a:sym typeface="+mn-lt"/>
                  </a:endParaRPr>
                </a:p>
              </p:txBody>
            </p:sp>
            <p:sp>
              <p:nvSpPr>
                <p:cNvPr id="55" name="Ellipse 54">
                  <a:extLst>
                    <a:ext uri="{FF2B5EF4-FFF2-40B4-BE49-F238E27FC236}">
                      <a16:creationId xmlns:a16="http://schemas.microsoft.com/office/drawing/2014/main" id="{4A06C903-80F6-45FD-A74B-30B3575DF3FD}"/>
                    </a:ext>
                  </a:extLst>
                </p:cNvPr>
                <p:cNvSpPr/>
                <p:nvPr/>
              </p:nvSpPr>
              <p:spPr>
                <a:xfrm>
                  <a:off x="1283297" y="4093973"/>
                  <a:ext cx="393458" cy="393458"/>
                </a:xfrm>
                <a:prstGeom prst="ellipse">
                  <a:avLst/>
                </a:prstGeom>
                <a:grp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de-DE" sz="1600" b="1" dirty="0">
                      <a:solidFill>
                        <a:schemeClr val="bg1"/>
                      </a:solidFill>
                      <a:sym typeface="+mn-lt"/>
                    </a:rPr>
                    <a:t>01</a:t>
                  </a:r>
                </a:p>
              </p:txBody>
            </p:sp>
          </p:grpSp>
          <p:sp>
            <p:nvSpPr>
              <p:cNvPr id="76" name="Textplatzhalter 5">
                <a:extLst>
                  <a:ext uri="{FF2B5EF4-FFF2-40B4-BE49-F238E27FC236}">
                    <a16:creationId xmlns:a16="http://schemas.microsoft.com/office/drawing/2014/main" id="{236AA4E7-1B9F-4A4D-A7FF-BE9C19F12A5B}"/>
                  </a:ext>
                </a:extLst>
              </p:cNvPr>
              <p:cNvSpPr txBox="1">
                <a:spLocks/>
              </p:cNvSpPr>
              <p:nvPr/>
            </p:nvSpPr>
            <p:spPr>
              <a:xfrm>
                <a:off x="1406873" y="3543664"/>
                <a:ext cx="1800000" cy="1292662"/>
              </a:xfrm>
              <a:prstGeom prst="rect">
                <a:avLst/>
              </a:prstGeom>
            </p:spPr>
            <p:txBody>
              <a:bodyPr vert="horz" wrap="square" lIns="0" tIns="0" rIns="0" bIns="0" rtlCol="0">
                <a:spAutoFit/>
              </a:bodyPr>
              <a:lstStyle>
                <a:lvl1pPr marL="0" indent="0" algn="l" defTabSz="914400" rtl="0" eaLnBrk="1" latinLnBrk="0" hangingPunct="1">
                  <a:spcBef>
                    <a:spcPts val="0"/>
                  </a:spcBef>
                  <a:spcAft>
                    <a:spcPts val="0"/>
                  </a:spcAft>
                  <a:buFont typeface="Arial" pitchFamily="34" charset="0"/>
                  <a:buNone/>
                  <a:defRPr sz="1600" kern="1200">
                    <a:solidFill>
                      <a:schemeClr val="tx1"/>
                    </a:solidFill>
                    <a:latin typeface="+mn-lt"/>
                    <a:ea typeface="+mn-ea"/>
                    <a:cs typeface="+mn-cs"/>
                  </a:defRPr>
                </a:lvl1pPr>
                <a:lvl2pPr marL="144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2pPr>
                <a:lvl3pPr marL="288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3pPr>
                <a:lvl4pPr marL="432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4pPr>
                <a:lvl5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5pPr>
                <a:lvl6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6pPr>
                <a:lvl7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7pPr>
                <a:lvl8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8pPr>
                <a:lvl9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9pPr>
              </a:lstStyle>
              <a:p>
                <a:pPr algn="ctr"/>
                <a:r>
                  <a:rPr lang="de-DE" sz="1400" dirty="0"/>
                  <a:t>Trifft Entscheidungen im Rahmen des jeweiligen Teilprojekts und setzt diese Entscheidungen im Teilprojekt durch</a:t>
                </a:r>
              </a:p>
            </p:txBody>
          </p:sp>
        </p:grpSp>
        <p:grpSp>
          <p:nvGrpSpPr>
            <p:cNvPr id="28" name="Gruppieren 27">
              <a:extLst>
                <a:ext uri="{FF2B5EF4-FFF2-40B4-BE49-F238E27FC236}">
                  <a16:creationId xmlns:a16="http://schemas.microsoft.com/office/drawing/2014/main" id="{260105B9-3FEF-4AFE-8EA0-2B248F038662}"/>
                </a:ext>
              </a:extLst>
            </p:cNvPr>
            <p:cNvGrpSpPr/>
            <p:nvPr/>
          </p:nvGrpSpPr>
          <p:grpSpPr>
            <a:xfrm>
              <a:off x="3839338" y="2477184"/>
              <a:ext cx="1800000" cy="2359142"/>
              <a:chOff x="3920152" y="2477184"/>
              <a:chExt cx="1800000" cy="2359142"/>
            </a:xfrm>
          </p:grpSpPr>
          <p:sp>
            <p:nvSpPr>
              <p:cNvPr id="56" name="Textplatzhalter 5">
                <a:extLst>
                  <a:ext uri="{FF2B5EF4-FFF2-40B4-BE49-F238E27FC236}">
                    <a16:creationId xmlns:a16="http://schemas.microsoft.com/office/drawing/2014/main" id="{7178F4A8-D3AE-4EF8-832D-F5394F4A1611}"/>
                  </a:ext>
                </a:extLst>
              </p:cNvPr>
              <p:cNvSpPr txBox="1">
                <a:spLocks/>
              </p:cNvSpPr>
              <p:nvPr/>
            </p:nvSpPr>
            <p:spPr>
              <a:xfrm>
                <a:off x="4174199" y="2477184"/>
                <a:ext cx="1291907" cy="246221"/>
              </a:xfrm>
              <a:prstGeom prst="rect">
                <a:avLst/>
              </a:prstGeom>
            </p:spPr>
            <p:txBody>
              <a:bodyPr vert="horz" wrap="square" lIns="0" tIns="0" rIns="0" bIns="0" rtlCol="0" anchor="b">
                <a:spAutoFit/>
              </a:bodyPr>
              <a:lstStyle>
                <a:lvl1pPr marL="0" indent="0" algn="l" defTabSz="914400" rtl="0" eaLnBrk="1" latinLnBrk="0" hangingPunct="1">
                  <a:spcBef>
                    <a:spcPts val="0"/>
                  </a:spcBef>
                  <a:spcAft>
                    <a:spcPts val="0"/>
                  </a:spcAft>
                  <a:buFont typeface="Arial" pitchFamily="34" charset="0"/>
                  <a:buNone/>
                  <a:defRPr sz="1600" kern="1200">
                    <a:solidFill>
                      <a:schemeClr val="tx1"/>
                    </a:solidFill>
                    <a:latin typeface="+mn-lt"/>
                    <a:ea typeface="+mn-ea"/>
                    <a:cs typeface="+mn-cs"/>
                  </a:defRPr>
                </a:lvl1pPr>
                <a:lvl2pPr marL="144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2pPr>
                <a:lvl3pPr marL="288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3pPr>
                <a:lvl4pPr marL="432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4pPr>
                <a:lvl5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5pPr>
                <a:lvl6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6pPr>
                <a:lvl7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7pPr>
                <a:lvl8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8pPr>
                <a:lvl9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9pPr>
              </a:lstStyle>
              <a:p>
                <a:pPr algn="ctr"/>
                <a:r>
                  <a:rPr lang="de-DE" b="1" dirty="0"/>
                  <a:t>Projektleiter</a:t>
                </a:r>
              </a:p>
            </p:txBody>
          </p:sp>
          <p:grpSp>
            <p:nvGrpSpPr>
              <p:cNvPr id="58" name="Gruppieren 57">
                <a:extLst>
                  <a:ext uri="{FF2B5EF4-FFF2-40B4-BE49-F238E27FC236}">
                    <a16:creationId xmlns:a16="http://schemas.microsoft.com/office/drawing/2014/main" id="{47DDBD6B-0581-441A-9067-2621B544B446}"/>
                  </a:ext>
                </a:extLst>
              </p:cNvPr>
              <p:cNvGrpSpPr/>
              <p:nvPr/>
            </p:nvGrpSpPr>
            <p:grpSpPr>
              <a:xfrm>
                <a:off x="4557103" y="2884723"/>
                <a:ext cx="526098" cy="526098"/>
                <a:chOff x="1216977" y="4027653"/>
                <a:chExt cx="526098" cy="526098"/>
              </a:xfrm>
              <a:solidFill>
                <a:schemeClr val="tx2"/>
              </a:solidFill>
            </p:grpSpPr>
            <p:sp>
              <p:nvSpPr>
                <p:cNvPr id="60" name="Ellipse 59">
                  <a:extLst>
                    <a:ext uri="{FF2B5EF4-FFF2-40B4-BE49-F238E27FC236}">
                      <a16:creationId xmlns:a16="http://schemas.microsoft.com/office/drawing/2014/main" id="{501044BA-A443-470D-978F-B2EFD2D1248C}"/>
                    </a:ext>
                  </a:extLst>
                </p:cNvPr>
                <p:cNvSpPr/>
                <p:nvPr/>
              </p:nvSpPr>
              <p:spPr>
                <a:xfrm>
                  <a:off x="1216977" y="4027653"/>
                  <a:ext cx="526098" cy="526098"/>
                </a:xfrm>
                <a:prstGeom prst="ellipse">
                  <a:avLst/>
                </a:prstGeom>
                <a:grp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de-DE" sz="1600" b="1" dirty="0">
                    <a:solidFill>
                      <a:schemeClr val="bg1"/>
                    </a:solidFill>
                    <a:sym typeface="+mn-lt"/>
                  </a:endParaRPr>
                </a:p>
              </p:txBody>
            </p:sp>
            <p:sp>
              <p:nvSpPr>
                <p:cNvPr id="68" name="Ellipse 67">
                  <a:extLst>
                    <a:ext uri="{FF2B5EF4-FFF2-40B4-BE49-F238E27FC236}">
                      <a16:creationId xmlns:a16="http://schemas.microsoft.com/office/drawing/2014/main" id="{3DBE97E0-8F28-461E-BA14-F940B502C557}"/>
                    </a:ext>
                  </a:extLst>
                </p:cNvPr>
                <p:cNvSpPr/>
                <p:nvPr/>
              </p:nvSpPr>
              <p:spPr>
                <a:xfrm>
                  <a:off x="1283297" y="4093973"/>
                  <a:ext cx="393458" cy="393458"/>
                </a:xfrm>
                <a:prstGeom prst="ellipse">
                  <a:avLst/>
                </a:prstGeom>
                <a:grp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de-DE" sz="1600" b="1" dirty="0">
                      <a:solidFill>
                        <a:schemeClr val="bg1"/>
                      </a:solidFill>
                      <a:sym typeface="+mn-lt"/>
                    </a:rPr>
                    <a:t>02</a:t>
                  </a:r>
                </a:p>
              </p:txBody>
            </p:sp>
          </p:grpSp>
          <p:sp>
            <p:nvSpPr>
              <p:cNvPr id="77" name="Textplatzhalter 5">
                <a:extLst>
                  <a:ext uri="{FF2B5EF4-FFF2-40B4-BE49-F238E27FC236}">
                    <a16:creationId xmlns:a16="http://schemas.microsoft.com/office/drawing/2014/main" id="{9A26EC26-CD8E-48A4-BF96-69583F3766E8}"/>
                  </a:ext>
                </a:extLst>
              </p:cNvPr>
              <p:cNvSpPr txBox="1">
                <a:spLocks/>
              </p:cNvSpPr>
              <p:nvPr/>
            </p:nvSpPr>
            <p:spPr>
              <a:xfrm>
                <a:off x="3920152" y="3543664"/>
                <a:ext cx="1800000" cy="1292662"/>
              </a:xfrm>
              <a:prstGeom prst="rect">
                <a:avLst/>
              </a:prstGeom>
            </p:spPr>
            <p:txBody>
              <a:bodyPr vert="horz" wrap="square" lIns="0" tIns="0" rIns="0" bIns="0" rtlCol="0">
                <a:spAutoFit/>
              </a:bodyPr>
              <a:lstStyle>
                <a:lvl1pPr marL="0" indent="0" algn="l" defTabSz="914400" rtl="0" eaLnBrk="1" latinLnBrk="0" hangingPunct="1">
                  <a:spcBef>
                    <a:spcPts val="0"/>
                  </a:spcBef>
                  <a:spcAft>
                    <a:spcPts val="0"/>
                  </a:spcAft>
                  <a:buFont typeface="Arial" pitchFamily="34" charset="0"/>
                  <a:buNone/>
                  <a:defRPr sz="1600" kern="1200">
                    <a:solidFill>
                      <a:schemeClr val="tx1"/>
                    </a:solidFill>
                    <a:latin typeface="+mn-lt"/>
                    <a:ea typeface="+mn-ea"/>
                    <a:cs typeface="+mn-cs"/>
                  </a:defRPr>
                </a:lvl1pPr>
                <a:lvl2pPr marL="144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2pPr>
                <a:lvl3pPr marL="288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3pPr>
                <a:lvl4pPr marL="432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4pPr>
                <a:lvl5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5pPr>
                <a:lvl6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6pPr>
                <a:lvl7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7pPr>
                <a:lvl8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8pPr>
                <a:lvl9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9pPr>
              </a:lstStyle>
              <a:p>
                <a:pPr algn="ctr"/>
                <a:r>
                  <a:rPr lang="de-DE" sz="1400" dirty="0"/>
                  <a:t>Trifft Entscheidungen im Rahmen des Projekts Phönix und setzt diese Entscheidungen im Projekt durch</a:t>
                </a:r>
              </a:p>
            </p:txBody>
          </p:sp>
        </p:grpSp>
        <p:grpSp>
          <p:nvGrpSpPr>
            <p:cNvPr id="45" name="Gruppieren 44">
              <a:extLst>
                <a:ext uri="{FF2B5EF4-FFF2-40B4-BE49-F238E27FC236}">
                  <a16:creationId xmlns:a16="http://schemas.microsoft.com/office/drawing/2014/main" id="{CE4E30BA-564C-41A2-A1E7-EC0A6B10390A}"/>
                </a:ext>
              </a:extLst>
            </p:cNvPr>
            <p:cNvGrpSpPr/>
            <p:nvPr/>
          </p:nvGrpSpPr>
          <p:grpSpPr>
            <a:xfrm>
              <a:off x="6271803" y="2477184"/>
              <a:ext cx="1800000" cy="2574585"/>
              <a:chOff x="6438854" y="2477184"/>
              <a:chExt cx="1800000" cy="2574585"/>
            </a:xfrm>
          </p:grpSpPr>
          <p:sp>
            <p:nvSpPr>
              <p:cNvPr id="57" name="Textplatzhalter 5">
                <a:extLst>
                  <a:ext uri="{FF2B5EF4-FFF2-40B4-BE49-F238E27FC236}">
                    <a16:creationId xmlns:a16="http://schemas.microsoft.com/office/drawing/2014/main" id="{75BA473F-BFDC-4D38-965B-C585CF19C28E}"/>
                  </a:ext>
                </a:extLst>
              </p:cNvPr>
              <p:cNvSpPr txBox="1">
                <a:spLocks/>
              </p:cNvSpPr>
              <p:nvPr/>
            </p:nvSpPr>
            <p:spPr>
              <a:xfrm>
                <a:off x="6692901" y="2477184"/>
                <a:ext cx="1291907" cy="246221"/>
              </a:xfrm>
              <a:prstGeom prst="rect">
                <a:avLst/>
              </a:prstGeom>
            </p:spPr>
            <p:txBody>
              <a:bodyPr vert="horz" wrap="square" lIns="0" tIns="0" rIns="0" bIns="0" rtlCol="0" anchor="b">
                <a:spAutoFit/>
              </a:bodyPr>
              <a:lstStyle>
                <a:lvl1pPr marL="0" indent="0" algn="l" defTabSz="914400" rtl="0" eaLnBrk="1" latinLnBrk="0" hangingPunct="1">
                  <a:spcBef>
                    <a:spcPts val="0"/>
                  </a:spcBef>
                  <a:spcAft>
                    <a:spcPts val="0"/>
                  </a:spcAft>
                  <a:buFont typeface="Arial" pitchFamily="34" charset="0"/>
                  <a:buNone/>
                  <a:defRPr sz="1600" kern="1200">
                    <a:solidFill>
                      <a:schemeClr val="tx1"/>
                    </a:solidFill>
                    <a:latin typeface="+mn-lt"/>
                    <a:ea typeface="+mn-ea"/>
                    <a:cs typeface="+mn-cs"/>
                  </a:defRPr>
                </a:lvl1pPr>
                <a:lvl2pPr marL="144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2pPr>
                <a:lvl3pPr marL="288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3pPr>
                <a:lvl4pPr marL="432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4pPr>
                <a:lvl5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5pPr>
                <a:lvl6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6pPr>
                <a:lvl7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7pPr>
                <a:lvl8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8pPr>
                <a:lvl9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9pPr>
              </a:lstStyle>
              <a:p>
                <a:pPr algn="ctr"/>
                <a:r>
                  <a:rPr lang="de-DE" b="1" dirty="0"/>
                  <a:t>Steuerkreis</a:t>
                </a:r>
              </a:p>
            </p:txBody>
          </p:sp>
          <p:grpSp>
            <p:nvGrpSpPr>
              <p:cNvPr id="69" name="Gruppieren 68">
                <a:extLst>
                  <a:ext uri="{FF2B5EF4-FFF2-40B4-BE49-F238E27FC236}">
                    <a16:creationId xmlns:a16="http://schemas.microsoft.com/office/drawing/2014/main" id="{1308AACA-6BD5-45AE-A6B5-0F3A1D76AEDA}"/>
                  </a:ext>
                </a:extLst>
              </p:cNvPr>
              <p:cNvGrpSpPr/>
              <p:nvPr/>
            </p:nvGrpSpPr>
            <p:grpSpPr>
              <a:xfrm>
                <a:off x="7075805" y="2884723"/>
                <a:ext cx="526098" cy="526098"/>
                <a:chOff x="1216977" y="4027653"/>
                <a:chExt cx="526098" cy="526098"/>
              </a:xfrm>
              <a:solidFill>
                <a:schemeClr val="tx2"/>
              </a:solidFill>
            </p:grpSpPr>
            <p:sp>
              <p:nvSpPr>
                <p:cNvPr id="70" name="Ellipse 69">
                  <a:extLst>
                    <a:ext uri="{FF2B5EF4-FFF2-40B4-BE49-F238E27FC236}">
                      <a16:creationId xmlns:a16="http://schemas.microsoft.com/office/drawing/2014/main" id="{0366B0D8-1910-412A-9AE3-69EDAFEFF3C5}"/>
                    </a:ext>
                  </a:extLst>
                </p:cNvPr>
                <p:cNvSpPr/>
                <p:nvPr/>
              </p:nvSpPr>
              <p:spPr>
                <a:xfrm>
                  <a:off x="1216977" y="4027653"/>
                  <a:ext cx="526098" cy="526098"/>
                </a:xfrm>
                <a:prstGeom prst="ellipse">
                  <a:avLst/>
                </a:prstGeom>
                <a:grp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de-DE" sz="1600" b="1" dirty="0">
                    <a:solidFill>
                      <a:schemeClr val="bg1"/>
                    </a:solidFill>
                    <a:sym typeface="+mn-lt"/>
                  </a:endParaRPr>
                </a:p>
              </p:txBody>
            </p:sp>
            <p:sp>
              <p:nvSpPr>
                <p:cNvPr id="71" name="Ellipse 70">
                  <a:extLst>
                    <a:ext uri="{FF2B5EF4-FFF2-40B4-BE49-F238E27FC236}">
                      <a16:creationId xmlns:a16="http://schemas.microsoft.com/office/drawing/2014/main" id="{994F6334-E584-4AF9-91E6-C7DC5214AA58}"/>
                    </a:ext>
                  </a:extLst>
                </p:cNvPr>
                <p:cNvSpPr/>
                <p:nvPr/>
              </p:nvSpPr>
              <p:spPr>
                <a:xfrm>
                  <a:off x="1283297" y="4093973"/>
                  <a:ext cx="393458" cy="393458"/>
                </a:xfrm>
                <a:prstGeom prst="ellipse">
                  <a:avLst/>
                </a:prstGeom>
                <a:grp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de-DE" sz="1600" b="1" dirty="0">
                      <a:solidFill>
                        <a:schemeClr val="bg1"/>
                      </a:solidFill>
                      <a:sym typeface="+mn-lt"/>
                    </a:rPr>
                    <a:t>03</a:t>
                  </a:r>
                </a:p>
              </p:txBody>
            </p:sp>
          </p:grpSp>
          <p:sp>
            <p:nvSpPr>
              <p:cNvPr id="78" name="Textplatzhalter 5">
                <a:extLst>
                  <a:ext uri="{FF2B5EF4-FFF2-40B4-BE49-F238E27FC236}">
                    <a16:creationId xmlns:a16="http://schemas.microsoft.com/office/drawing/2014/main" id="{C3F0A01C-233B-4541-B642-A94A04F9AECB}"/>
                  </a:ext>
                </a:extLst>
              </p:cNvPr>
              <p:cNvSpPr txBox="1">
                <a:spLocks/>
              </p:cNvSpPr>
              <p:nvPr/>
            </p:nvSpPr>
            <p:spPr>
              <a:xfrm>
                <a:off x="6438854" y="3543664"/>
                <a:ext cx="1800000" cy="1508105"/>
              </a:xfrm>
              <a:prstGeom prst="rect">
                <a:avLst/>
              </a:prstGeom>
            </p:spPr>
            <p:txBody>
              <a:bodyPr vert="horz" wrap="square" lIns="0" tIns="0" rIns="0" bIns="0" rtlCol="0">
                <a:spAutoFit/>
              </a:bodyPr>
              <a:lstStyle>
                <a:lvl1pPr marL="0" indent="0" algn="l" defTabSz="914400" rtl="0" eaLnBrk="1" latinLnBrk="0" hangingPunct="1">
                  <a:spcBef>
                    <a:spcPts val="0"/>
                  </a:spcBef>
                  <a:spcAft>
                    <a:spcPts val="0"/>
                  </a:spcAft>
                  <a:buFont typeface="Arial" pitchFamily="34" charset="0"/>
                  <a:buNone/>
                  <a:defRPr sz="1600" kern="1200">
                    <a:solidFill>
                      <a:schemeClr val="tx1"/>
                    </a:solidFill>
                    <a:latin typeface="+mn-lt"/>
                    <a:ea typeface="+mn-ea"/>
                    <a:cs typeface="+mn-cs"/>
                  </a:defRPr>
                </a:lvl1pPr>
                <a:lvl2pPr marL="144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2pPr>
                <a:lvl3pPr marL="288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3pPr>
                <a:lvl4pPr marL="432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4pPr>
                <a:lvl5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5pPr>
                <a:lvl6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6pPr>
                <a:lvl7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7pPr>
                <a:lvl8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8pPr>
                <a:lvl9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9pPr>
              </a:lstStyle>
              <a:p>
                <a:pPr algn="ctr"/>
                <a:r>
                  <a:rPr lang="de-DE" sz="1400" dirty="0"/>
                  <a:t>Trifft Entscheidungen im Rahmen des Projekts Phönix mit Auswirkungen auf die Unternehmen und setzt diese Entscheidungen durch</a:t>
                </a:r>
              </a:p>
            </p:txBody>
          </p:sp>
        </p:grpSp>
        <p:grpSp>
          <p:nvGrpSpPr>
            <p:cNvPr id="46" name="Gruppieren 45">
              <a:extLst>
                <a:ext uri="{FF2B5EF4-FFF2-40B4-BE49-F238E27FC236}">
                  <a16:creationId xmlns:a16="http://schemas.microsoft.com/office/drawing/2014/main" id="{A98E9597-EB92-41FB-919C-D46432A5D106}"/>
                </a:ext>
              </a:extLst>
            </p:cNvPr>
            <p:cNvGrpSpPr/>
            <p:nvPr/>
          </p:nvGrpSpPr>
          <p:grpSpPr>
            <a:xfrm>
              <a:off x="8704269" y="2477184"/>
              <a:ext cx="1800000" cy="2143698"/>
              <a:chOff x="8704269" y="2477184"/>
              <a:chExt cx="1800000" cy="2143698"/>
            </a:xfrm>
          </p:grpSpPr>
          <p:sp>
            <p:nvSpPr>
              <p:cNvPr id="72" name="Textplatzhalter 5">
                <a:extLst>
                  <a:ext uri="{FF2B5EF4-FFF2-40B4-BE49-F238E27FC236}">
                    <a16:creationId xmlns:a16="http://schemas.microsoft.com/office/drawing/2014/main" id="{9F75C271-FF6E-411E-817D-819F5B61D39F}"/>
                  </a:ext>
                </a:extLst>
              </p:cNvPr>
              <p:cNvSpPr txBox="1">
                <a:spLocks/>
              </p:cNvSpPr>
              <p:nvPr/>
            </p:nvSpPr>
            <p:spPr>
              <a:xfrm>
                <a:off x="8798646" y="2477184"/>
                <a:ext cx="1611247" cy="246221"/>
              </a:xfrm>
              <a:prstGeom prst="rect">
                <a:avLst/>
              </a:prstGeom>
            </p:spPr>
            <p:txBody>
              <a:bodyPr vert="horz" wrap="square" lIns="0" tIns="0" rIns="0" bIns="0" rtlCol="0" anchor="b">
                <a:spAutoFit/>
              </a:bodyPr>
              <a:lstStyle>
                <a:lvl1pPr marL="0" indent="0" algn="l" defTabSz="914400" rtl="0" eaLnBrk="1" latinLnBrk="0" hangingPunct="1">
                  <a:spcBef>
                    <a:spcPts val="0"/>
                  </a:spcBef>
                  <a:spcAft>
                    <a:spcPts val="0"/>
                  </a:spcAft>
                  <a:buFont typeface="Arial" pitchFamily="34" charset="0"/>
                  <a:buNone/>
                  <a:defRPr sz="1600" kern="1200">
                    <a:solidFill>
                      <a:schemeClr val="tx1"/>
                    </a:solidFill>
                    <a:latin typeface="+mn-lt"/>
                    <a:ea typeface="+mn-ea"/>
                    <a:cs typeface="+mn-cs"/>
                  </a:defRPr>
                </a:lvl1pPr>
                <a:lvl2pPr marL="144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2pPr>
                <a:lvl3pPr marL="288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3pPr>
                <a:lvl4pPr marL="432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4pPr>
                <a:lvl5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5pPr>
                <a:lvl6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6pPr>
                <a:lvl7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7pPr>
                <a:lvl8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8pPr>
                <a:lvl9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9pPr>
              </a:lstStyle>
              <a:p>
                <a:pPr algn="ctr"/>
                <a:r>
                  <a:rPr lang="de-DE" b="1" dirty="0"/>
                  <a:t>Geschäftsführung</a:t>
                </a:r>
              </a:p>
            </p:txBody>
          </p:sp>
          <p:grpSp>
            <p:nvGrpSpPr>
              <p:cNvPr id="73" name="Gruppieren 72">
                <a:extLst>
                  <a:ext uri="{FF2B5EF4-FFF2-40B4-BE49-F238E27FC236}">
                    <a16:creationId xmlns:a16="http://schemas.microsoft.com/office/drawing/2014/main" id="{80442C41-342D-4D72-8138-AA5086FBC075}"/>
                  </a:ext>
                </a:extLst>
              </p:cNvPr>
              <p:cNvGrpSpPr/>
              <p:nvPr/>
            </p:nvGrpSpPr>
            <p:grpSpPr>
              <a:xfrm>
                <a:off x="9341220" y="2884723"/>
                <a:ext cx="526098" cy="526098"/>
                <a:chOff x="1216977" y="4027653"/>
                <a:chExt cx="526098" cy="526098"/>
              </a:xfrm>
              <a:solidFill>
                <a:schemeClr val="tx2"/>
              </a:solidFill>
            </p:grpSpPr>
            <p:sp>
              <p:nvSpPr>
                <p:cNvPr id="74" name="Ellipse 73">
                  <a:extLst>
                    <a:ext uri="{FF2B5EF4-FFF2-40B4-BE49-F238E27FC236}">
                      <a16:creationId xmlns:a16="http://schemas.microsoft.com/office/drawing/2014/main" id="{8A5816BD-5415-45A1-AB83-4D3542E09BDC}"/>
                    </a:ext>
                  </a:extLst>
                </p:cNvPr>
                <p:cNvSpPr/>
                <p:nvPr/>
              </p:nvSpPr>
              <p:spPr>
                <a:xfrm>
                  <a:off x="1216977" y="4027653"/>
                  <a:ext cx="526098" cy="526098"/>
                </a:xfrm>
                <a:prstGeom prst="ellipse">
                  <a:avLst/>
                </a:prstGeom>
                <a:grp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de-DE" sz="1600" b="1" dirty="0">
                    <a:solidFill>
                      <a:schemeClr val="bg1"/>
                    </a:solidFill>
                    <a:sym typeface="+mn-lt"/>
                  </a:endParaRPr>
                </a:p>
              </p:txBody>
            </p:sp>
            <p:sp>
              <p:nvSpPr>
                <p:cNvPr id="75" name="Ellipse 74">
                  <a:extLst>
                    <a:ext uri="{FF2B5EF4-FFF2-40B4-BE49-F238E27FC236}">
                      <a16:creationId xmlns:a16="http://schemas.microsoft.com/office/drawing/2014/main" id="{CF881C96-C6D6-4246-B467-2577ED7835A1}"/>
                    </a:ext>
                  </a:extLst>
                </p:cNvPr>
                <p:cNvSpPr/>
                <p:nvPr/>
              </p:nvSpPr>
              <p:spPr>
                <a:xfrm>
                  <a:off x="1283297" y="4093973"/>
                  <a:ext cx="393458" cy="393458"/>
                </a:xfrm>
                <a:prstGeom prst="ellipse">
                  <a:avLst/>
                </a:prstGeom>
                <a:grp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de-DE" sz="1600" b="1" dirty="0">
                      <a:solidFill>
                        <a:schemeClr val="bg1"/>
                      </a:solidFill>
                      <a:sym typeface="+mn-lt"/>
                    </a:rPr>
                    <a:t>04</a:t>
                  </a:r>
                </a:p>
              </p:txBody>
            </p:sp>
          </p:grpSp>
          <p:sp>
            <p:nvSpPr>
              <p:cNvPr id="79" name="Textplatzhalter 5">
                <a:extLst>
                  <a:ext uri="{FF2B5EF4-FFF2-40B4-BE49-F238E27FC236}">
                    <a16:creationId xmlns:a16="http://schemas.microsoft.com/office/drawing/2014/main" id="{E846A103-93DE-496A-8515-925611D77995}"/>
                  </a:ext>
                </a:extLst>
              </p:cNvPr>
              <p:cNvSpPr txBox="1">
                <a:spLocks/>
              </p:cNvSpPr>
              <p:nvPr/>
            </p:nvSpPr>
            <p:spPr>
              <a:xfrm>
                <a:off x="8704269" y="3543664"/>
                <a:ext cx="1800000" cy="1077218"/>
              </a:xfrm>
              <a:prstGeom prst="rect">
                <a:avLst/>
              </a:prstGeom>
            </p:spPr>
            <p:txBody>
              <a:bodyPr vert="horz" wrap="square" lIns="0" tIns="0" rIns="0" bIns="0" rtlCol="0">
                <a:spAutoFit/>
              </a:bodyPr>
              <a:lstStyle>
                <a:lvl1pPr marL="0" indent="0" algn="l" defTabSz="914400" rtl="0" eaLnBrk="1" latinLnBrk="0" hangingPunct="1">
                  <a:spcBef>
                    <a:spcPts val="0"/>
                  </a:spcBef>
                  <a:spcAft>
                    <a:spcPts val="0"/>
                  </a:spcAft>
                  <a:buFont typeface="Arial" pitchFamily="34" charset="0"/>
                  <a:buNone/>
                  <a:defRPr sz="1600" kern="1200">
                    <a:solidFill>
                      <a:schemeClr val="tx1"/>
                    </a:solidFill>
                    <a:latin typeface="+mn-lt"/>
                    <a:ea typeface="+mn-ea"/>
                    <a:cs typeface="+mn-cs"/>
                  </a:defRPr>
                </a:lvl1pPr>
                <a:lvl2pPr marL="144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2pPr>
                <a:lvl3pPr marL="288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3pPr>
                <a:lvl4pPr marL="432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4pPr>
                <a:lvl5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5pPr>
                <a:lvl6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6pPr>
                <a:lvl7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7pPr>
                <a:lvl8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8pPr>
                <a:lvl9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9pPr>
              </a:lstStyle>
              <a:p>
                <a:pPr algn="ctr"/>
                <a:r>
                  <a:rPr lang="de-DE" sz="1400" dirty="0"/>
                  <a:t>Trifft Entscheidungen mit Auswirkungen auf die Unternehmen und setzt diese Entscheidungen durch</a:t>
                </a:r>
              </a:p>
            </p:txBody>
          </p:sp>
        </p:grpSp>
      </p:grpSp>
    </p:spTree>
    <p:extLst>
      <p:ext uri="{BB962C8B-B14F-4D97-AF65-F5344CB8AC3E}">
        <p14:creationId xmlns:p14="http://schemas.microsoft.com/office/powerpoint/2010/main" val="253883715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FF06BB48-B0E5-41AF-B5B7-C7A2F69B0F35}"/>
              </a:ext>
            </a:extLst>
          </p:cNvPr>
          <p:cNvGraphicFramePr>
            <a:graphicFrameLocks noChangeAspect="1"/>
          </p:cNvGraphicFramePr>
          <p:nvPr>
            <p:custDataLst>
              <p:tags r:id="rId1"/>
            </p:custDataLst>
            <p:extLst>
              <p:ext uri="{D42A27DB-BD31-4B8C-83A1-F6EECF244321}">
                <p14:modId xmlns:p14="http://schemas.microsoft.com/office/powerpoint/2010/main" val="10899576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6" progId="TCLayout.ActiveDocument.1">
                  <p:embed/>
                </p:oleObj>
              </mc:Choice>
              <mc:Fallback>
                <p:oleObj name="think-cell Folie" r:id="rId3" imgW="425" imgH="426" progId="TCLayout.ActiveDocument.1">
                  <p:embed/>
                  <p:pic>
                    <p:nvPicPr>
                      <p:cNvPr id="4" name="Objekt 3" hidden="1">
                        <a:extLst>
                          <a:ext uri="{FF2B5EF4-FFF2-40B4-BE49-F238E27FC236}">
                            <a16:creationId xmlns:a16="http://schemas.microsoft.com/office/drawing/2014/main" id="{FF06BB48-B0E5-41AF-B5B7-C7A2F69B0F3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4EDD9BB2-6456-4A59-B05A-928CE78EF279}"/>
              </a:ext>
            </a:extLst>
          </p:cNvPr>
          <p:cNvSpPr>
            <a:spLocks noGrp="1"/>
          </p:cNvSpPr>
          <p:nvPr>
            <p:ph type="title"/>
          </p:nvPr>
        </p:nvSpPr>
        <p:spPr/>
        <p:txBody>
          <a:bodyPr vert="horz"/>
          <a:lstStyle/>
          <a:p>
            <a:r>
              <a:rPr lang="de-DE" dirty="0"/>
              <a:t>Projekt-Reporting „Phönix“</a:t>
            </a:r>
            <a:br>
              <a:rPr lang="de-DE" dirty="0"/>
            </a:br>
            <a:r>
              <a:rPr lang="de-DE" dirty="0"/>
              <a:t>Teilprojekt: XY</a:t>
            </a:r>
          </a:p>
        </p:txBody>
      </p:sp>
      <p:sp>
        <p:nvSpPr>
          <p:cNvPr id="6" name="Rechteck 5">
            <a:extLst>
              <a:ext uri="{FF2B5EF4-FFF2-40B4-BE49-F238E27FC236}">
                <a16:creationId xmlns:a16="http://schemas.microsoft.com/office/drawing/2014/main" id="{BCD77FC3-1A09-459D-B2AD-890CEE6E3349}"/>
              </a:ext>
            </a:extLst>
          </p:cNvPr>
          <p:cNvSpPr/>
          <p:nvPr/>
        </p:nvSpPr>
        <p:spPr>
          <a:xfrm>
            <a:off x="8493605" y="1140737"/>
            <a:ext cx="2879542" cy="302451"/>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r"/>
            <a:r>
              <a:rPr lang="de-DE" sz="1600" b="1" dirty="0">
                <a:solidFill>
                  <a:schemeClr val="tx1"/>
                </a:solidFill>
              </a:rPr>
              <a:t>Status zum tt.mm.jjjj</a:t>
            </a:r>
          </a:p>
        </p:txBody>
      </p:sp>
      <p:sp>
        <p:nvSpPr>
          <p:cNvPr id="7" name="Rechteck 6">
            <a:extLst>
              <a:ext uri="{FF2B5EF4-FFF2-40B4-BE49-F238E27FC236}">
                <a16:creationId xmlns:a16="http://schemas.microsoft.com/office/drawing/2014/main" id="{0795C69C-FE4A-463E-AE4E-37AE1DC01759}"/>
              </a:ext>
            </a:extLst>
          </p:cNvPr>
          <p:cNvSpPr/>
          <p:nvPr/>
        </p:nvSpPr>
        <p:spPr>
          <a:xfrm>
            <a:off x="11372598" y="1140737"/>
            <a:ext cx="479924" cy="302451"/>
          </a:xfrm>
          <a:prstGeom prst="rect">
            <a:avLst/>
          </a:prstGeom>
          <a:solidFill>
            <a:srgbClr val="00B050"/>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lang="de-DE" sz="1000" b="1" dirty="0">
                <a:solidFill>
                  <a:schemeClr val="tx1"/>
                </a:solidFill>
              </a:rPr>
              <a:t>Grün</a:t>
            </a:r>
          </a:p>
        </p:txBody>
      </p:sp>
      <p:sp>
        <p:nvSpPr>
          <p:cNvPr id="8" name="Rechteck 7">
            <a:extLst>
              <a:ext uri="{FF2B5EF4-FFF2-40B4-BE49-F238E27FC236}">
                <a16:creationId xmlns:a16="http://schemas.microsoft.com/office/drawing/2014/main" id="{2A0818E3-F29A-4B88-A536-EFBDC5BA460B}"/>
              </a:ext>
            </a:extLst>
          </p:cNvPr>
          <p:cNvSpPr/>
          <p:nvPr/>
        </p:nvSpPr>
        <p:spPr>
          <a:xfrm>
            <a:off x="334963" y="1667982"/>
            <a:ext cx="5519123" cy="302451"/>
          </a:xfrm>
          <a:prstGeom prst="rect">
            <a:avLst/>
          </a:prstGeom>
          <a:solidFill>
            <a:schemeClr val="bg1"/>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r>
              <a:rPr lang="de-DE" sz="1600" b="1" dirty="0">
                <a:solidFill>
                  <a:schemeClr val="tx1"/>
                </a:solidFill>
              </a:rPr>
              <a:t>Teilprojektstatus</a:t>
            </a:r>
          </a:p>
        </p:txBody>
      </p:sp>
      <p:sp>
        <p:nvSpPr>
          <p:cNvPr id="9" name="Rechteck 8">
            <a:extLst>
              <a:ext uri="{FF2B5EF4-FFF2-40B4-BE49-F238E27FC236}">
                <a16:creationId xmlns:a16="http://schemas.microsoft.com/office/drawing/2014/main" id="{FBFF7BBD-E5E2-4A63-A6B1-AB6CCB651167}"/>
              </a:ext>
            </a:extLst>
          </p:cNvPr>
          <p:cNvSpPr/>
          <p:nvPr/>
        </p:nvSpPr>
        <p:spPr>
          <a:xfrm>
            <a:off x="334963" y="1970433"/>
            <a:ext cx="5519123" cy="2016339"/>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285750" indent="-285750">
              <a:buFont typeface="Wingdings" panose="05000000000000000000" pitchFamily="2" charset="2"/>
              <a:buChar char="§"/>
            </a:pPr>
            <a:r>
              <a:rPr lang="de-DE" sz="1400" dirty="0">
                <a:solidFill>
                  <a:schemeClr val="tx1"/>
                </a:solidFill>
              </a:rPr>
              <a:t>Ergebnisse &amp; erfolgte Maßnahmen </a:t>
            </a:r>
          </a:p>
        </p:txBody>
      </p:sp>
      <p:sp>
        <p:nvSpPr>
          <p:cNvPr id="10" name="Rechteck 9">
            <a:extLst>
              <a:ext uri="{FF2B5EF4-FFF2-40B4-BE49-F238E27FC236}">
                <a16:creationId xmlns:a16="http://schemas.microsoft.com/office/drawing/2014/main" id="{E97E98F6-3CDD-451B-9DB7-42BD1DEB5865}"/>
              </a:ext>
            </a:extLst>
          </p:cNvPr>
          <p:cNvSpPr/>
          <p:nvPr/>
        </p:nvSpPr>
        <p:spPr>
          <a:xfrm>
            <a:off x="6335840" y="1667982"/>
            <a:ext cx="5519123" cy="302451"/>
          </a:xfrm>
          <a:prstGeom prst="rect">
            <a:avLst/>
          </a:prstGeom>
          <a:solidFill>
            <a:schemeClr val="bg1"/>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r>
              <a:rPr lang="de-DE" sz="1600" b="1" dirty="0">
                <a:solidFill>
                  <a:schemeClr val="tx1"/>
                </a:solidFill>
              </a:rPr>
              <a:t>Aktuelle Risiken und Gegenmaßnahmen</a:t>
            </a:r>
          </a:p>
        </p:txBody>
      </p:sp>
      <p:sp>
        <p:nvSpPr>
          <p:cNvPr id="11" name="Rechteck 10">
            <a:extLst>
              <a:ext uri="{FF2B5EF4-FFF2-40B4-BE49-F238E27FC236}">
                <a16:creationId xmlns:a16="http://schemas.microsoft.com/office/drawing/2014/main" id="{96E24C05-E909-4715-914C-01F5F72ABC12}"/>
              </a:ext>
            </a:extLst>
          </p:cNvPr>
          <p:cNvSpPr/>
          <p:nvPr/>
        </p:nvSpPr>
        <p:spPr>
          <a:xfrm>
            <a:off x="6335840" y="1970433"/>
            <a:ext cx="5519123" cy="2016339"/>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285750" indent="-285750">
              <a:buFont typeface="Wingdings" panose="05000000000000000000" pitchFamily="2" charset="2"/>
              <a:buChar char="§"/>
            </a:pPr>
            <a:r>
              <a:rPr lang="de-DE" sz="1400" dirty="0">
                <a:solidFill>
                  <a:schemeClr val="tx1"/>
                </a:solidFill>
              </a:rPr>
              <a:t>Risiken und (mögliche) Gegenmaßnahmen</a:t>
            </a:r>
          </a:p>
        </p:txBody>
      </p:sp>
      <p:sp>
        <p:nvSpPr>
          <p:cNvPr id="12" name="Rechteck 11">
            <a:extLst>
              <a:ext uri="{FF2B5EF4-FFF2-40B4-BE49-F238E27FC236}">
                <a16:creationId xmlns:a16="http://schemas.microsoft.com/office/drawing/2014/main" id="{E70EC451-61E3-4E2F-BB9A-F60FC1A4110E}"/>
              </a:ext>
            </a:extLst>
          </p:cNvPr>
          <p:cNvSpPr/>
          <p:nvPr/>
        </p:nvSpPr>
        <p:spPr>
          <a:xfrm>
            <a:off x="334963" y="4007364"/>
            <a:ext cx="5519123" cy="302451"/>
          </a:xfrm>
          <a:prstGeom prst="rect">
            <a:avLst/>
          </a:prstGeom>
          <a:solidFill>
            <a:schemeClr val="bg1"/>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r>
              <a:rPr lang="de-DE" sz="1600" b="1" dirty="0">
                <a:solidFill>
                  <a:schemeClr val="tx1"/>
                </a:solidFill>
              </a:rPr>
              <a:t>Nächste Schritte</a:t>
            </a:r>
          </a:p>
        </p:txBody>
      </p:sp>
      <p:sp>
        <p:nvSpPr>
          <p:cNvPr id="13" name="Rechteck 12">
            <a:extLst>
              <a:ext uri="{FF2B5EF4-FFF2-40B4-BE49-F238E27FC236}">
                <a16:creationId xmlns:a16="http://schemas.microsoft.com/office/drawing/2014/main" id="{D2030545-F5A7-4075-84FC-52988A3DF5CF}"/>
              </a:ext>
            </a:extLst>
          </p:cNvPr>
          <p:cNvSpPr/>
          <p:nvPr/>
        </p:nvSpPr>
        <p:spPr>
          <a:xfrm>
            <a:off x="334963" y="4309815"/>
            <a:ext cx="5519123" cy="2016339"/>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285750" indent="-285750">
              <a:buFont typeface="Wingdings" panose="05000000000000000000" pitchFamily="2" charset="2"/>
              <a:buChar char="§"/>
            </a:pPr>
            <a:r>
              <a:rPr lang="de-DE" sz="1400" dirty="0">
                <a:solidFill>
                  <a:schemeClr val="tx1"/>
                </a:solidFill>
              </a:rPr>
              <a:t>Nächste Schritte &amp; Maßnahmen</a:t>
            </a:r>
          </a:p>
        </p:txBody>
      </p:sp>
      <p:sp>
        <p:nvSpPr>
          <p:cNvPr id="14" name="Rechteck 13">
            <a:extLst>
              <a:ext uri="{FF2B5EF4-FFF2-40B4-BE49-F238E27FC236}">
                <a16:creationId xmlns:a16="http://schemas.microsoft.com/office/drawing/2014/main" id="{8F16061B-63DF-4B48-A23A-161FD4A3BDD6}"/>
              </a:ext>
            </a:extLst>
          </p:cNvPr>
          <p:cNvSpPr/>
          <p:nvPr/>
        </p:nvSpPr>
        <p:spPr>
          <a:xfrm>
            <a:off x="6335840" y="4007364"/>
            <a:ext cx="5519123" cy="302451"/>
          </a:xfrm>
          <a:prstGeom prst="rect">
            <a:avLst/>
          </a:prstGeom>
          <a:solidFill>
            <a:schemeClr val="bg1"/>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r>
              <a:rPr lang="de-DE" sz="1600" b="1" dirty="0">
                <a:solidFill>
                  <a:schemeClr val="tx1"/>
                </a:solidFill>
              </a:rPr>
              <a:t>Entscheidungsanträge</a:t>
            </a:r>
          </a:p>
        </p:txBody>
      </p:sp>
      <p:sp>
        <p:nvSpPr>
          <p:cNvPr id="15" name="Rechteck 14">
            <a:extLst>
              <a:ext uri="{FF2B5EF4-FFF2-40B4-BE49-F238E27FC236}">
                <a16:creationId xmlns:a16="http://schemas.microsoft.com/office/drawing/2014/main" id="{A97D3CFC-E436-49BE-AFCF-8EA0AB34A505}"/>
              </a:ext>
            </a:extLst>
          </p:cNvPr>
          <p:cNvSpPr/>
          <p:nvPr/>
        </p:nvSpPr>
        <p:spPr>
          <a:xfrm>
            <a:off x="6335840" y="4309815"/>
            <a:ext cx="5519123" cy="2016339"/>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285750" indent="-285750">
              <a:buFont typeface="Wingdings" panose="05000000000000000000" pitchFamily="2" charset="2"/>
              <a:buChar char="§"/>
            </a:pPr>
            <a:r>
              <a:rPr lang="de-DE" sz="1400" dirty="0">
                <a:solidFill>
                  <a:schemeClr val="tx1"/>
                </a:solidFill>
              </a:rPr>
              <a:t>Entscheidungsanträge für den Projektleiter oder Steuerkreis</a:t>
            </a:r>
          </a:p>
        </p:txBody>
      </p:sp>
      <p:sp>
        <p:nvSpPr>
          <p:cNvPr id="18" name="Textfeld 17">
            <a:extLst>
              <a:ext uri="{FF2B5EF4-FFF2-40B4-BE49-F238E27FC236}">
                <a16:creationId xmlns:a16="http://schemas.microsoft.com/office/drawing/2014/main" id="{EF8F0026-93D9-41DE-84DE-F5C2A2F8B9E2}"/>
              </a:ext>
            </a:extLst>
          </p:cNvPr>
          <p:cNvSpPr txBox="1"/>
          <p:nvPr/>
        </p:nvSpPr>
        <p:spPr>
          <a:xfrm>
            <a:off x="334963" y="6544666"/>
            <a:ext cx="1380506" cy="215444"/>
          </a:xfrm>
          <a:prstGeom prst="rect">
            <a:avLst/>
          </a:prstGeom>
          <a:noFill/>
        </p:spPr>
        <p:txBody>
          <a:bodyPr wrap="none" rtlCol="0" anchor="b">
            <a:spAutoFit/>
          </a:bodyPr>
          <a:lstStyle/>
          <a:p>
            <a:r>
              <a:rPr lang="de-DE" sz="800" dirty="0"/>
              <a:t>Quelle: Projektteam Phönix</a:t>
            </a:r>
          </a:p>
        </p:txBody>
      </p:sp>
      <p:sp>
        <p:nvSpPr>
          <p:cNvPr id="19" name="Rechteck 18">
            <a:extLst>
              <a:ext uri="{FF2B5EF4-FFF2-40B4-BE49-F238E27FC236}">
                <a16:creationId xmlns:a16="http://schemas.microsoft.com/office/drawing/2014/main" id="{9AD10914-3570-4ED9-B62D-585F98FDA3CD}"/>
              </a:ext>
            </a:extLst>
          </p:cNvPr>
          <p:cNvSpPr/>
          <p:nvPr/>
        </p:nvSpPr>
        <p:spPr>
          <a:xfrm>
            <a:off x="10954961" y="69705"/>
            <a:ext cx="900000" cy="252000"/>
          </a:xfrm>
          <a:prstGeom prst="rect">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b="1" dirty="0"/>
              <a:t>Entwurf</a:t>
            </a:r>
          </a:p>
        </p:txBody>
      </p:sp>
      <p:cxnSp>
        <p:nvCxnSpPr>
          <p:cNvPr id="24" name="Gerader Verbinder 23">
            <a:extLst>
              <a:ext uri="{FF2B5EF4-FFF2-40B4-BE49-F238E27FC236}">
                <a16:creationId xmlns:a16="http://schemas.microsoft.com/office/drawing/2014/main" id="{B90BB879-7C01-436F-9878-008037483219}"/>
              </a:ext>
            </a:extLst>
          </p:cNvPr>
          <p:cNvCxnSpPr>
            <a:cxnSpLocks/>
          </p:cNvCxnSpPr>
          <p:nvPr/>
        </p:nvCxnSpPr>
        <p:spPr>
          <a:xfrm>
            <a:off x="334963" y="1970433"/>
            <a:ext cx="551880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5" name="Gerader Verbinder 24">
            <a:extLst>
              <a:ext uri="{FF2B5EF4-FFF2-40B4-BE49-F238E27FC236}">
                <a16:creationId xmlns:a16="http://schemas.microsoft.com/office/drawing/2014/main" id="{6F6F7A5E-C62B-4A94-B080-7B5B09974FF6}"/>
              </a:ext>
            </a:extLst>
          </p:cNvPr>
          <p:cNvCxnSpPr>
            <a:cxnSpLocks/>
          </p:cNvCxnSpPr>
          <p:nvPr/>
        </p:nvCxnSpPr>
        <p:spPr>
          <a:xfrm>
            <a:off x="6335840" y="1970433"/>
            <a:ext cx="551880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6" name="Gerader Verbinder 25">
            <a:extLst>
              <a:ext uri="{FF2B5EF4-FFF2-40B4-BE49-F238E27FC236}">
                <a16:creationId xmlns:a16="http://schemas.microsoft.com/office/drawing/2014/main" id="{389FA09A-EC8A-439A-B112-8F4D1B2A0C00}"/>
              </a:ext>
            </a:extLst>
          </p:cNvPr>
          <p:cNvCxnSpPr>
            <a:cxnSpLocks/>
          </p:cNvCxnSpPr>
          <p:nvPr/>
        </p:nvCxnSpPr>
        <p:spPr>
          <a:xfrm>
            <a:off x="334963" y="4309815"/>
            <a:ext cx="551880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7" name="Gerader Verbinder 26">
            <a:extLst>
              <a:ext uri="{FF2B5EF4-FFF2-40B4-BE49-F238E27FC236}">
                <a16:creationId xmlns:a16="http://schemas.microsoft.com/office/drawing/2014/main" id="{C03A33EE-A716-471C-AC8E-230A8FA312F0}"/>
              </a:ext>
            </a:extLst>
          </p:cNvPr>
          <p:cNvCxnSpPr>
            <a:cxnSpLocks/>
          </p:cNvCxnSpPr>
          <p:nvPr/>
        </p:nvCxnSpPr>
        <p:spPr>
          <a:xfrm>
            <a:off x="6335840" y="4309815"/>
            <a:ext cx="551880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140560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FF06BB48-B0E5-41AF-B5B7-C7A2F69B0F35}"/>
              </a:ext>
            </a:extLst>
          </p:cNvPr>
          <p:cNvGraphicFramePr>
            <a:graphicFrameLocks noChangeAspect="1"/>
          </p:cNvGraphicFramePr>
          <p:nvPr>
            <p:custDataLst>
              <p:tags r:id="rId1"/>
            </p:custDataLst>
            <p:extLst>
              <p:ext uri="{D42A27DB-BD31-4B8C-83A1-F6EECF244321}">
                <p14:modId xmlns:p14="http://schemas.microsoft.com/office/powerpoint/2010/main" val="1281685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6" progId="TCLayout.ActiveDocument.1">
                  <p:embed/>
                </p:oleObj>
              </mc:Choice>
              <mc:Fallback>
                <p:oleObj name="think-cell Folie" r:id="rId3" imgW="425" imgH="426" progId="TCLayout.ActiveDocument.1">
                  <p:embed/>
                  <p:pic>
                    <p:nvPicPr>
                      <p:cNvPr id="4" name="Objekt 3" hidden="1">
                        <a:extLst>
                          <a:ext uri="{FF2B5EF4-FFF2-40B4-BE49-F238E27FC236}">
                            <a16:creationId xmlns:a16="http://schemas.microsoft.com/office/drawing/2014/main" id="{FF06BB48-B0E5-41AF-B5B7-C7A2F69B0F3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4EDD9BB2-6456-4A59-B05A-928CE78EF279}"/>
              </a:ext>
            </a:extLst>
          </p:cNvPr>
          <p:cNvSpPr>
            <a:spLocks noGrp="1"/>
          </p:cNvSpPr>
          <p:nvPr>
            <p:ph type="title"/>
          </p:nvPr>
        </p:nvSpPr>
        <p:spPr>
          <a:xfrm>
            <a:off x="334963" y="333374"/>
            <a:ext cx="11520000" cy="540000"/>
          </a:xfrm>
        </p:spPr>
        <p:txBody>
          <a:bodyPr vert="horz"/>
          <a:lstStyle/>
          <a:p>
            <a:r>
              <a:rPr lang="de-DE" dirty="0"/>
              <a:t>Projektabbruchkriterien wurden für das Projekt für jede Phase definiert</a:t>
            </a:r>
          </a:p>
        </p:txBody>
      </p:sp>
      <p:sp>
        <p:nvSpPr>
          <p:cNvPr id="18" name="Textfeld 17">
            <a:extLst>
              <a:ext uri="{FF2B5EF4-FFF2-40B4-BE49-F238E27FC236}">
                <a16:creationId xmlns:a16="http://schemas.microsoft.com/office/drawing/2014/main" id="{EF8F0026-93D9-41DE-84DE-F5C2A2F8B9E2}"/>
              </a:ext>
            </a:extLst>
          </p:cNvPr>
          <p:cNvSpPr txBox="1"/>
          <p:nvPr/>
        </p:nvSpPr>
        <p:spPr>
          <a:xfrm>
            <a:off x="334963" y="6421556"/>
            <a:ext cx="3435556" cy="338554"/>
          </a:xfrm>
          <a:prstGeom prst="rect">
            <a:avLst/>
          </a:prstGeom>
          <a:noFill/>
        </p:spPr>
        <p:txBody>
          <a:bodyPr wrap="none" rtlCol="0" anchor="b">
            <a:spAutoFit/>
          </a:bodyPr>
          <a:lstStyle/>
          <a:p>
            <a:r>
              <a:rPr lang="de-DE" sz="800" dirty="0"/>
              <a:t>1 | Ausgenommen hiervon sind Abfindungskosten für Personalmaßnahmen</a:t>
            </a:r>
          </a:p>
          <a:p>
            <a:r>
              <a:rPr lang="de-DE" sz="800" dirty="0"/>
              <a:t>Quelle: Projektteam Phönix</a:t>
            </a:r>
          </a:p>
        </p:txBody>
      </p:sp>
      <p:sp>
        <p:nvSpPr>
          <p:cNvPr id="19" name="Rechteck 18">
            <a:extLst>
              <a:ext uri="{FF2B5EF4-FFF2-40B4-BE49-F238E27FC236}">
                <a16:creationId xmlns:a16="http://schemas.microsoft.com/office/drawing/2014/main" id="{9AD10914-3570-4ED9-B62D-585F98FDA3CD}"/>
              </a:ext>
            </a:extLst>
          </p:cNvPr>
          <p:cNvSpPr/>
          <p:nvPr/>
        </p:nvSpPr>
        <p:spPr>
          <a:xfrm>
            <a:off x="10954961" y="69705"/>
            <a:ext cx="900000" cy="252000"/>
          </a:xfrm>
          <a:prstGeom prst="rect">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b="1" dirty="0"/>
              <a:t>Entwurf</a:t>
            </a:r>
          </a:p>
        </p:txBody>
      </p:sp>
      <p:sp>
        <p:nvSpPr>
          <p:cNvPr id="61" name="Rechteck 60">
            <a:extLst>
              <a:ext uri="{FF2B5EF4-FFF2-40B4-BE49-F238E27FC236}">
                <a16:creationId xmlns:a16="http://schemas.microsoft.com/office/drawing/2014/main" id="{27456022-9F65-4CB9-BE2F-0F954CCAAE28}"/>
              </a:ext>
            </a:extLst>
          </p:cNvPr>
          <p:cNvSpPr/>
          <p:nvPr/>
        </p:nvSpPr>
        <p:spPr>
          <a:xfrm>
            <a:off x="8254963" y="2034080"/>
            <a:ext cx="3600000" cy="4166695"/>
          </a:xfrm>
          <a:prstGeom prst="rect">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36000" rIns="91440" bIns="0" numCol="1" spcCol="0" rtlCol="0" fromWordArt="0" anchor="ctr" anchorCtr="0" forceAA="0" compatLnSpc="1">
            <a:prstTxWarp prst="textNoShape">
              <a:avLst/>
            </a:prstTxWarp>
            <a:noAutofit/>
          </a:bodyPr>
          <a:lstStyle/>
          <a:p>
            <a:pPr algn="ctr"/>
            <a:endParaRPr lang="en-US" sz="1600" dirty="0">
              <a:solidFill>
                <a:schemeClr val="tx1"/>
              </a:solidFill>
            </a:endParaRPr>
          </a:p>
        </p:txBody>
      </p:sp>
      <p:cxnSp>
        <p:nvCxnSpPr>
          <p:cNvPr id="62" name="Gerader Verbinder 61">
            <a:extLst>
              <a:ext uri="{FF2B5EF4-FFF2-40B4-BE49-F238E27FC236}">
                <a16:creationId xmlns:a16="http://schemas.microsoft.com/office/drawing/2014/main" id="{BFBDA1EF-BE26-412D-9BD3-9E1B56D1C0DB}"/>
              </a:ext>
            </a:extLst>
          </p:cNvPr>
          <p:cNvCxnSpPr>
            <a:cxnSpLocks/>
          </p:cNvCxnSpPr>
          <p:nvPr/>
        </p:nvCxnSpPr>
        <p:spPr>
          <a:xfrm>
            <a:off x="8530405" y="2686051"/>
            <a:ext cx="3049115" cy="0"/>
          </a:xfrm>
          <a:prstGeom prst="line">
            <a:avLst/>
          </a:prstGeom>
          <a:ln w="12700" cap="sq">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63" name="Gerader Verbinder 62">
            <a:extLst>
              <a:ext uri="{FF2B5EF4-FFF2-40B4-BE49-F238E27FC236}">
                <a16:creationId xmlns:a16="http://schemas.microsoft.com/office/drawing/2014/main" id="{14F8208F-7078-4EDB-83CA-5288DDBB43FE}"/>
              </a:ext>
            </a:extLst>
          </p:cNvPr>
          <p:cNvCxnSpPr/>
          <p:nvPr/>
        </p:nvCxnSpPr>
        <p:spPr>
          <a:xfrm>
            <a:off x="8530405" y="3751971"/>
            <a:ext cx="3049115" cy="0"/>
          </a:xfrm>
          <a:prstGeom prst="line">
            <a:avLst/>
          </a:prstGeom>
          <a:ln w="12700" cap="rnd">
            <a:solidFill>
              <a:schemeClr val="tx1"/>
            </a:solidFill>
            <a:prstDash val="sysDash"/>
          </a:ln>
        </p:spPr>
        <p:style>
          <a:lnRef idx="1">
            <a:schemeClr val="accent1"/>
          </a:lnRef>
          <a:fillRef idx="0">
            <a:schemeClr val="accent1"/>
          </a:fillRef>
          <a:effectRef idx="0">
            <a:schemeClr val="accent1"/>
          </a:effectRef>
          <a:fontRef idx="minor">
            <a:schemeClr val="tx1"/>
          </a:fontRef>
        </p:style>
      </p:cxnSp>
      <p:cxnSp>
        <p:nvCxnSpPr>
          <p:cNvPr id="64" name="Gerader Verbinder 63">
            <a:extLst>
              <a:ext uri="{FF2B5EF4-FFF2-40B4-BE49-F238E27FC236}">
                <a16:creationId xmlns:a16="http://schemas.microsoft.com/office/drawing/2014/main" id="{F9E91C89-3BD1-46CA-B07A-F4A9F23F9A84}"/>
              </a:ext>
            </a:extLst>
          </p:cNvPr>
          <p:cNvCxnSpPr/>
          <p:nvPr/>
        </p:nvCxnSpPr>
        <p:spPr>
          <a:xfrm>
            <a:off x="8530405" y="4817891"/>
            <a:ext cx="3049115" cy="0"/>
          </a:xfrm>
          <a:prstGeom prst="line">
            <a:avLst/>
          </a:prstGeom>
          <a:ln w="12700" cap="rnd">
            <a:solidFill>
              <a:schemeClr val="tx1"/>
            </a:solidFill>
            <a:prstDash val="sysDash"/>
          </a:ln>
        </p:spPr>
        <p:style>
          <a:lnRef idx="1">
            <a:schemeClr val="accent1"/>
          </a:lnRef>
          <a:fillRef idx="0">
            <a:schemeClr val="accent1"/>
          </a:fillRef>
          <a:effectRef idx="0">
            <a:schemeClr val="accent1"/>
          </a:effectRef>
          <a:fontRef idx="minor">
            <a:schemeClr val="tx1"/>
          </a:fontRef>
        </p:style>
      </p:cxnSp>
      <p:sp>
        <p:nvSpPr>
          <p:cNvPr id="66" name="Textplatzhalter 5">
            <a:extLst>
              <a:ext uri="{FF2B5EF4-FFF2-40B4-BE49-F238E27FC236}">
                <a16:creationId xmlns:a16="http://schemas.microsoft.com/office/drawing/2014/main" id="{8F0ADBC2-CB9A-45A0-8292-63D2249162D0}"/>
              </a:ext>
            </a:extLst>
          </p:cNvPr>
          <p:cNvSpPr txBox="1">
            <a:spLocks/>
          </p:cNvSpPr>
          <p:nvPr/>
        </p:nvSpPr>
        <p:spPr>
          <a:xfrm>
            <a:off x="8530405" y="2972790"/>
            <a:ext cx="3049115" cy="492443"/>
          </a:xfrm>
          <a:prstGeom prst="rect">
            <a:avLst/>
          </a:prstGeom>
        </p:spPr>
        <p:txBody>
          <a:bodyPr vert="horz" wrap="square" lIns="0" tIns="0" rIns="0" bIns="0" rtlCol="0" anchor="ctr">
            <a:spAutoFit/>
          </a:bodyPr>
          <a:lstStyle>
            <a:lvl1pPr marL="0" indent="0" algn="l" defTabSz="914400" rtl="0" eaLnBrk="1" latinLnBrk="0" hangingPunct="1">
              <a:spcBef>
                <a:spcPts val="0"/>
              </a:spcBef>
              <a:spcAft>
                <a:spcPts val="0"/>
              </a:spcAft>
              <a:buFont typeface="Arial" pitchFamily="34" charset="0"/>
              <a:buNone/>
              <a:defRPr sz="1600" kern="1200">
                <a:solidFill>
                  <a:schemeClr val="tx1"/>
                </a:solidFill>
                <a:latin typeface="+mn-lt"/>
                <a:ea typeface="+mn-ea"/>
                <a:cs typeface="+mn-cs"/>
              </a:defRPr>
            </a:lvl1pPr>
            <a:lvl2pPr marL="144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2pPr>
            <a:lvl3pPr marL="288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3pPr>
            <a:lvl4pPr marL="432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4pPr>
            <a:lvl5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5pPr>
            <a:lvl6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6pPr>
            <a:lvl7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7pPr>
            <a:lvl8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8pPr>
            <a:lvl9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9pPr>
          </a:lstStyle>
          <a:p>
            <a:r>
              <a:rPr lang="de-DE" dirty="0"/>
              <a:t>Maßnahmen zählen erst ab absoluten Volumen ≥ 100 K€</a:t>
            </a:r>
          </a:p>
        </p:txBody>
      </p:sp>
      <p:sp>
        <p:nvSpPr>
          <p:cNvPr id="67" name="Textplatzhalter 5">
            <a:extLst>
              <a:ext uri="{FF2B5EF4-FFF2-40B4-BE49-F238E27FC236}">
                <a16:creationId xmlns:a16="http://schemas.microsoft.com/office/drawing/2014/main" id="{D8A9875A-1FA4-4AEB-AFDD-54F76FD2399B}"/>
              </a:ext>
            </a:extLst>
          </p:cNvPr>
          <p:cNvSpPr txBox="1">
            <a:spLocks/>
          </p:cNvSpPr>
          <p:nvPr/>
        </p:nvSpPr>
        <p:spPr>
          <a:xfrm>
            <a:off x="8530405" y="4038711"/>
            <a:ext cx="3049115" cy="492443"/>
          </a:xfrm>
          <a:prstGeom prst="rect">
            <a:avLst/>
          </a:prstGeom>
        </p:spPr>
        <p:txBody>
          <a:bodyPr vert="horz" wrap="square" lIns="0" tIns="0" rIns="0" bIns="0" rtlCol="0" anchor="ctr">
            <a:spAutoFit/>
          </a:bodyPr>
          <a:lstStyle>
            <a:lvl1pPr marL="0" indent="0" algn="l" defTabSz="914400" rtl="0" eaLnBrk="1" latinLnBrk="0" hangingPunct="1">
              <a:spcBef>
                <a:spcPts val="0"/>
              </a:spcBef>
              <a:spcAft>
                <a:spcPts val="0"/>
              </a:spcAft>
              <a:buFont typeface="Arial" pitchFamily="34" charset="0"/>
              <a:buNone/>
              <a:defRPr sz="1600" kern="1200">
                <a:solidFill>
                  <a:schemeClr val="tx1"/>
                </a:solidFill>
                <a:latin typeface="+mn-lt"/>
                <a:ea typeface="+mn-ea"/>
                <a:cs typeface="+mn-cs"/>
              </a:defRPr>
            </a:lvl1pPr>
            <a:lvl2pPr marL="144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2pPr>
            <a:lvl3pPr marL="288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3pPr>
            <a:lvl4pPr marL="432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4pPr>
            <a:lvl5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5pPr>
            <a:lvl6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6pPr>
            <a:lvl7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7pPr>
            <a:lvl8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8pPr>
            <a:lvl9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9pPr>
          </a:lstStyle>
          <a:p>
            <a:r>
              <a:rPr lang="de-DE" dirty="0"/>
              <a:t>Maßnahmen müssen bis 31.06.2022 umgesetzt werden </a:t>
            </a:r>
          </a:p>
        </p:txBody>
      </p:sp>
      <p:sp>
        <p:nvSpPr>
          <p:cNvPr id="68" name="Textplatzhalter 5">
            <a:extLst>
              <a:ext uri="{FF2B5EF4-FFF2-40B4-BE49-F238E27FC236}">
                <a16:creationId xmlns:a16="http://schemas.microsoft.com/office/drawing/2014/main" id="{693ACE18-33AA-47CD-AE73-8ADBD59A6378}"/>
              </a:ext>
            </a:extLst>
          </p:cNvPr>
          <p:cNvSpPr txBox="1">
            <a:spLocks/>
          </p:cNvSpPr>
          <p:nvPr/>
        </p:nvSpPr>
        <p:spPr>
          <a:xfrm>
            <a:off x="8530405" y="4982781"/>
            <a:ext cx="3049115" cy="738664"/>
          </a:xfrm>
          <a:prstGeom prst="rect">
            <a:avLst/>
          </a:prstGeom>
        </p:spPr>
        <p:txBody>
          <a:bodyPr vert="horz" wrap="square" lIns="0" tIns="0" rIns="0" bIns="0" rtlCol="0">
            <a:spAutoFit/>
          </a:bodyPr>
          <a:lstStyle>
            <a:lvl1pPr marL="0" indent="0" algn="l" defTabSz="914400" rtl="0" eaLnBrk="1" latinLnBrk="0" hangingPunct="1">
              <a:spcBef>
                <a:spcPts val="0"/>
              </a:spcBef>
              <a:spcAft>
                <a:spcPts val="0"/>
              </a:spcAft>
              <a:buFont typeface="Arial" pitchFamily="34" charset="0"/>
              <a:buNone/>
              <a:defRPr sz="1600" kern="1200">
                <a:solidFill>
                  <a:schemeClr val="tx1"/>
                </a:solidFill>
                <a:latin typeface="+mn-lt"/>
                <a:ea typeface="+mn-ea"/>
                <a:cs typeface="+mn-cs"/>
              </a:defRPr>
            </a:lvl1pPr>
            <a:lvl2pPr marL="144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2pPr>
            <a:lvl3pPr marL="288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3pPr>
            <a:lvl4pPr marL="432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4pPr>
            <a:lvl5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5pPr>
            <a:lvl6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6pPr>
            <a:lvl7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7pPr>
            <a:lvl8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8pPr>
            <a:lvl9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9pPr>
          </a:lstStyle>
          <a:p>
            <a:r>
              <a:rPr lang="de-DE" dirty="0"/>
              <a:t>Kosten für Umsetzung von Maßnahmen sind mit dem Potenzial zu verrechnen</a:t>
            </a:r>
            <a:r>
              <a:rPr lang="de-DE" baseline="30000" dirty="0"/>
              <a:t>1</a:t>
            </a:r>
            <a:endParaRPr lang="de-DE" dirty="0"/>
          </a:p>
        </p:txBody>
      </p:sp>
      <p:sp>
        <p:nvSpPr>
          <p:cNvPr id="69" name="Textplatzhalter 5">
            <a:extLst>
              <a:ext uri="{FF2B5EF4-FFF2-40B4-BE49-F238E27FC236}">
                <a16:creationId xmlns:a16="http://schemas.microsoft.com/office/drawing/2014/main" id="{F557D778-3BE4-43AB-B84A-A6F24EAFBE96}"/>
              </a:ext>
            </a:extLst>
          </p:cNvPr>
          <p:cNvSpPr txBox="1">
            <a:spLocks/>
          </p:cNvSpPr>
          <p:nvPr/>
        </p:nvSpPr>
        <p:spPr>
          <a:xfrm>
            <a:off x="8530405" y="2285761"/>
            <a:ext cx="2229743" cy="289843"/>
          </a:xfrm>
          <a:prstGeom prst="rect">
            <a:avLst/>
          </a:prstGeom>
        </p:spPr>
        <p:txBody>
          <a:bodyPr vert="horz" wrap="square" lIns="0" tIns="43200" rIns="0" bIns="0" rtlCol="0" anchor="ctr">
            <a:spAutoFit/>
          </a:bodyPr>
          <a:lstStyle>
            <a:lvl1pPr marL="0" indent="0" algn="l" defTabSz="914400" rtl="0" eaLnBrk="1" latinLnBrk="0" hangingPunct="1">
              <a:spcBef>
                <a:spcPts val="0"/>
              </a:spcBef>
              <a:spcAft>
                <a:spcPts val="0"/>
              </a:spcAft>
              <a:buFont typeface="Arial" pitchFamily="34" charset="0"/>
              <a:buNone/>
              <a:defRPr sz="1600" kern="1200">
                <a:solidFill>
                  <a:schemeClr val="tx1"/>
                </a:solidFill>
                <a:latin typeface="+mn-lt"/>
                <a:ea typeface="+mn-ea"/>
                <a:cs typeface="+mn-cs"/>
              </a:defRPr>
            </a:lvl1pPr>
            <a:lvl2pPr marL="144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2pPr>
            <a:lvl3pPr marL="288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3pPr>
            <a:lvl4pPr marL="432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4pPr>
            <a:lvl5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5pPr>
            <a:lvl6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6pPr>
            <a:lvl7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7pPr>
            <a:lvl8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8pPr>
            <a:lvl9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9pPr>
          </a:lstStyle>
          <a:p>
            <a:r>
              <a:rPr lang="de-DE" b="1" dirty="0"/>
              <a:t>Prämissen</a:t>
            </a:r>
          </a:p>
        </p:txBody>
      </p:sp>
      <p:grpSp>
        <p:nvGrpSpPr>
          <p:cNvPr id="76" name="Gruppieren 75">
            <a:extLst>
              <a:ext uri="{FF2B5EF4-FFF2-40B4-BE49-F238E27FC236}">
                <a16:creationId xmlns:a16="http://schemas.microsoft.com/office/drawing/2014/main" id="{300ADD48-B9B8-4D82-924F-D319951F51FD}"/>
              </a:ext>
            </a:extLst>
          </p:cNvPr>
          <p:cNvGrpSpPr/>
          <p:nvPr/>
        </p:nvGrpSpPr>
        <p:grpSpPr>
          <a:xfrm>
            <a:off x="345073" y="2329383"/>
            <a:ext cx="2232001" cy="1436644"/>
            <a:chOff x="345073" y="2329383"/>
            <a:chExt cx="2232001" cy="1436644"/>
          </a:xfrm>
        </p:grpSpPr>
        <p:cxnSp>
          <p:nvCxnSpPr>
            <p:cNvPr id="43" name="Gerader Verbinder 42">
              <a:extLst>
                <a:ext uri="{FF2B5EF4-FFF2-40B4-BE49-F238E27FC236}">
                  <a16:creationId xmlns:a16="http://schemas.microsoft.com/office/drawing/2014/main" id="{02522D67-F796-4173-89E3-06BE9F35B0F8}"/>
                </a:ext>
              </a:extLst>
            </p:cNvPr>
            <p:cNvCxnSpPr/>
            <p:nvPr/>
          </p:nvCxnSpPr>
          <p:spPr>
            <a:xfrm>
              <a:off x="345074" y="2685197"/>
              <a:ext cx="22320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46" name="Textplatzhalter 5">
              <a:extLst>
                <a:ext uri="{FF2B5EF4-FFF2-40B4-BE49-F238E27FC236}">
                  <a16:creationId xmlns:a16="http://schemas.microsoft.com/office/drawing/2014/main" id="{861D5A49-6D23-4032-9F66-D7B79207D0B2}"/>
                </a:ext>
              </a:extLst>
            </p:cNvPr>
            <p:cNvSpPr txBox="1">
              <a:spLocks/>
            </p:cNvSpPr>
            <p:nvPr/>
          </p:nvSpPr>
          <p:spPr>
            <a:xfrm>
              <a:off x="345073" y="2329383"/>
              <a:ext cx="2232000" cy="492443"/>
            </a:xfrm>
            <a:prstGeom prst="rect">
              <a:avLst/>
            </a:prstGeom>
          </p:spPr>
          <p:txBody>
            <a:bodyPr vert="horz" wrap="square" lIns="0" tIns="0" rIns="0" bIns="0" rtlCol="0">
              <a:spAutoFit/>
            </a:bodyPr>
            <a:lstStyle>
              <a:lvl1pPr marL="0" indent="0" algn="l" defTabSz="914400" rtl="0" eaLnBrk="1" latinLnBrk="0" hangingPunct="1">
                <a:spcBef>
                  <a:spcPts val="0"/>
                </a:spcBef>
                <a:spcAft>
                  <a:spcPts val="0"/>
                </a:spcAft>
                <a:buFont typeface="Arial" pitchFamily="34" charset="0"/>
                <a:buNone/>
                <a:defRPr sz="1600" kern="1200">
                  <a:solidFill>
                    <a:schemeClr val="tx1"/>
                  </a:solidFill>
                  <a:latin typeface="+mn-lt"/>
                  <a:ea typeface="+mn-ea"/>
                  <a:cs typeface="+mn-cs"/>
                </a:defRPr>
              </a:lvl1pPr>
              <a:lvl2pPr marL="144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2pPr>
              <a:lvl3pPr marL="288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3pPr>
              <a:lvl4pPr marL="432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4pPr>
              <a:lvl5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5pPr>
              <a:lvl6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6pPr>
              <a:lvl7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7pPr>
              <a:lvl8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8pPr>
              <a:lvl9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9pPr>
            </a:lstStyle>
            <a:p>
              <a:r>
                <a:rPr lang="de-DE" b="1" dirty="0"/>
                <a:t>1. Steuerkreis 09.08.2021</a:t>
              </a:r>
            </a:p>
          </p:txBody>
        </p:sp>
        <p:sp>
          <p:nvSpPr>
            <p:cNvPr id="47" name="Textplatzhalter 5">
              <a:extLst>
                <a:ext uri="{FF2B5EF4-FFF2-40B4-BE49-F238E27FC236}">
                  <a16:creationId xmlns:a16="http://schemas.microsoft.com/office/drawing/2014/main" id="{D8AE4388-D108-4891-B099-693A6C2B8F66}"/>
                </a:ext>
              </a:extLst>
            </p:cNvPr>
            <p:cNvSpPr txBox="1">
              <a:spLocks/>
            </p:cNvSpPr>
            <p:nvPr/>
          </p:nvSpPr>
          <p:spPr>
            <a:xfrm>
              <a:off x="345073" y="2827308"/>
              <a:ext cx="2232000" cy="938719"/>
            </a:xfrm>
            <a:prstGeom prst="rect">
              <a:avLst/>
            </a:prstGeom>
          </p:spPr>
          <p:txBody>
            <a:bodyPr vert="horz" wrap="square" lIns="0" tIns="0" rIns="0" bIns="0" rtlCol="0">
              <a:spAutoFit/>
            </a:bodyPr>
            <a:lstStyle>
              <a:lvl1pPr marL="0" indent="0" algn="l" defTabSz="914400" rtl="0" eaLnBrk="1" latinLnBrk="0" hangingPunct="1">
                <a:spcBef>
                  <a:spcPts val="0"/>
                </a:spcBef>
                <a:spcAft>
                  <a:spcPts val="0"/>
                </a:spcAft>
                <a:buFont typeface="Arial" pitchFamily="34" charset="0"/>
                <a:buNone/>
                <a:defRPr sz="1600" kern="1200">
                  <a:solidFill>
                    <a:schemeClr val="tx1"/>
                  </a:solidFill>
                  <a:latin typeface="+mn-lt"/>
                  <a:ea typeface="+mn-ea"/>
                  <a:cs typeface="+mn-cs"/>
                </a:defRPr>
              </a:lvl1pPr>
              <a:lvl2pPr marL="144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2pPr>
              <a:lvl3pPr marL="288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3pPr>
              <a:lvl4pPr marL="432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4pPr>
              <a:lvl5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5pPr>
              <a:lvl6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6pPr>
              <a:lvl7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7pPr>
              <a:lvl8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8pPr>
              <a:lvl9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9pPr>
            </a:lstStyle>
            <a:p>
              <a:pPr lvl="1">
                <a:spcBef>
                  <a:spcPts val="600"/>
                </a:spcBef>
                <a:buFont typeface="Wingdings" panose="05000000000000000000" pitchFamily="2" charset="2"/>
                <a:buChar char="§"/>
              </a:pPr>
              <a:r>
                <a:rPr lang="de-DE" sz="1400" dirty="0"/>
                <a:t>Maßnahmen mit Potenzial unter 6%-EBIT-Marge der ABC GmbH identifiziert</a:t>
              </a:r>
            </a:p>
            <a:p>
              <a:pPr lvl="1">
                <a:spcBef>
                  <a:spcPts val="600"/>
                </a:spcBef>
                <a:buFont typeface="Wingdings" panose="05000000000000000000" pitchFamily="2" charset="2"/>
                <a:buChar char="§"/>
              </a:pPr>
              <a:r>
                <a:rPr lang="de-DE" sz="1400" dirty="0"/>
                <a:t>…</a:t>
              </a:r>
            </a:p>
          </p:txBody>
        </p:sp>
      </p:grpSp>
      <p:grpSp>
        <p:nvGrpSpPr>
          <p:cNvPr id="75" name="Gruppieren 74">
            <a:extLst>
              <a:ext uri="{FF2B5EF4-FFF2-40B4-BE49-F238E27FC236}">
                <a16:creationId xmlns:a16="http://schemas.microsoft.com/office/drawing/2014/main" id="{EFBE8A65-4F79-4D55-BFE4-875347FFD0CB}"/>
              </a:ext>
            </a:extLst>
          </p:cNvPr>
          <p:cNvGrpSpPr/>
          <p:nvPr/>
        </p:nvGrpSpPr>
        <p:grpSpPr>
          <a:xfrm>
            <a:off x="2981703" y="2329383"/>
            <a:ext cx="2232001" cy="1436644"/>
            <a:chOff x="3113835" y="2329383"/>
            <a:chExt cx="2232001" cy="1436644"/>
          </a:xfrm>
        </p:grpSpPr>
        <p:cxnSp>
          <p:nvCxnSpPr>
            <p:cNvPr id="44" name="Gerader Verbinder 43">
              <a:extLst>
                <a:ext uri="{FF2B5EF4-FFF2-40B4-BE49-F238E27FC236}">
                  <a16:creationId xmlns:a16="http://schemas.microsoft.com/office/drawing/2014/main" id="{1B71F45A-523D-4933-8709-D19DE5780E8E}"/>
                </a:ext>
              </a:extLst>
            </p:cNvPr>
            <p:cNvCxnSpPr/>
            <p:nvPr/>
          </p:nvCxnSpPr>
          <p:spPr>
            <a:xfrm>
              <a:off x="3113836" y="2685197"/>
              <a:ext cx="22320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48" name="Textplatzhalter 5">
              <a:extLst>
                <a:ext uri="{FF2B5EF4-FFF2-40B4-BE49-F238E27FC236}">
                  <a16:creationId xmlns:a16="http://schemas.microsoft.com/office/drawing/2014/main" id="{72BA367F-19FF-484E-BA7E-125C30334578}"/>
                </a:ext>
              </a:extLst>
            </p:cNvPr>
            <p:cNvSpPr txBox="1">
              <a:spLocks/>
            </p:cNvSpPr>
            <p:nvPr/>
          </p:nvSpPr>
          <p:spPr>
            <a:xfrm>
              <a:off x="3113835" y="2827308"/>
              <a:ext cx="2232000" cy="938719"/>
            </a:xfrm>
            <a:prstGeom prst="rect">
              <a:avLst/>
            </a:prstGeom>
          </p:spPr>
          <p:txBody>
            <a:bodyPr vert="horz" wrap="square" lIns="0" tIns="0" rIns="0" bIns="0" rtlCol="0">
              <a:spAutoFit/>
            </a:bodyPr>
            <a:lstStyle>
              <a:lvl1pPr marL="0" indent="0" algn="l" defTabSz="914400" rtl="0" eaLnBrk="1" latinLnBrk="0" hangingPunct="1">
                <a:spcBef>
                  <a:spcPts val="0"/>
                </a:spcBef>
                <a:spcAft>
                  <a:spcPts val="0"/>
                </a:spcAft>
                <a:buFont typeface="Arial" pitchFamily="34" charset="0"/>
                <a:buNone/>
                <a:defRPr sz="1600" kern="1200">
                  <a:solidFill>
                    <a:schemeClr val="tx1"/>
                  </a:solidFill>
                  <a:latin typeface="+mn-lt"/>
                  <a:ea typeface="+mn-ea"/>
                  <a:cs typeface="+mn-cs"/>
                </a:defRPr>
              </a:lvl1pPr>
              <a:lvl2pPr marL="144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2pPr>
              <a:lvl3pPr marL="288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3pPr>
              <a:lvl4pPr marL="432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4pPr>
              <a:lvl5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5pPr>
              <a:lvl6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6pPr>
              <a:lvl7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7pPr>
              <a:lvl8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8pPr>
              <a:lvl9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9pPr>
            </a:lstStyle>
            <a:p>
              <a:pPr lvl="1">
                <a:spcBef>
                  <a:spcPts val="600"/>
                </a:spcBef>
                <a:buFont typeface="Wingdings" panose="05000000000000000000" pitchFamily="2" charset="2"/>
                <a:buChar char="§"/>
              </a:pPr>
              <a:r>
                <a:rPr lang="de-DE" sz="1400" dirty="0"/>
                <a:t>Maßnahmen mit Potenzial unter 4%-EBIT-Marge der ABC GmbH konzeptioniert</a:t>
              </a:r>
            </a:p>
            <a:p>
              <a:pPr lvl="1">
                <a:spcBef>
                  <a:spcPts val="600"/>
                </a:spcBef>
                <a:buFont typeface="Wingdings" panose="05000000000000000000" pitchFamily="2" charset="2"/>
                <a:buChar char="§"/>
              </a:pPr>
              <a:r>
                <a:rPr lang="de-DE" sz="1400" dirty="0"/>
                <a:t>…</a:t>
              </a:r>
            </a:p>
          </p:txBody>
        </p:sp>
        <p:sp>
          <p:nvSpPr>
            <p:cNvPr id="53" name="Textplatzhalter 5">
              <a:extLst>
                <a:ext uri="{FF2B5EF4-FFF2-40B4-BE49-F238E27FC236}">
                  <a16:creationId xmlns:a16="http://schemas.microsoft.com/office/drawing/2014/main" id="{FA0922B8-96F9-4D43-9F0A-81C01D0688D8}"/>
                </a:ext>
              </a:extLst>
            </p:cNvPr>
            <p:cNvSpPr txBox="1">
              <a:spLocks/>
            </p:cNvSpPr>
            <p:nvPr/>
          </p:nvSpPr>
          <p:spPr>
            <a:xfrm>
              <a:off x="3113835" y="2329383"/>
              <a:ext cx="2232000" cy="492443"/>
            </a:xfrm>
            <a:prstGeom prst="rect">
              <a:avLst/>
            </a:prstGeom>
          </p:spPr>
          <p:txBody>
            <a:bodyPr vert="horz" wrap="square" lIns="0" tIns="0" rIns="0" bIns="0" rtlCol="0">
              <a:spAutoFit/>
            </a:bodyPr>
            <a:lstStyle>
              <a:lvl1pPr marL="0" indent="0" algn="l" defTabSz="914400" rtl="0" eaLnBrk="1" latinLnBrk="0" hangingPunct="1">
                <a:spcBef>
                  <a:spcPts val="0"/>
                </a:spcBef>
                <a:spcAft>
                  <a:spcPts val="0"/>
                </a:spcAft>
                <a:buFont typeface="Arial" pitchFamily="34" charset="0"/>
                <a:buNone/>
                <a:defRPr sz="1600" kern="1200">
                  <a:solidFill>
                    <a:schemeClr val="tx1"/>
                  </a:solidFill>
                  <a:latin typeface="+mn-lt"/>
                  <a:ea typeface="+mn-ea"/>
                  <a:cs typeface="+mn-cs"/>
                </a:defRPr>
              </a:lvl1pPr>
              <a:lvl2pPr marL="144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2pPr>
              <a:lvl3pPr marL="288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3pPr>
              <a:lvl4pPr marL="432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4pPr>
              <a:lvl5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5pPr>
              <a:lvl6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6pPr>
              <a:lvl7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7pPr>
              <a:lvl8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8pPr>
              <a:lvl9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9pPr>
            </a:lstStyle>
            <a:p>
              <a:r>
                <a:rPr lang="de-DE" b="1" dirty="0"/>
                <a:t>2. Steuerkreis 13.10.2021</a:t>
              </a:r>
            </a:p>
          </p:txBody>
        </p:sp>
      </p:grpSp>
      <p:grpSp>
        <p:nvGrpSpPr>
          <p:cNvPr id="74" name="Gruppieren 73">
            <a:extLst>
              <a:ext uri="{FF2B5EF4-FFF2-40B4-BE49-F238E27FC236}">
                <a16:creationId xmlns:a16="http://schemas.microsoft.com/office/drawing/2014/main" id="{75B5384B-2B2C-4C04-AD9F-89B21E31FF64}"/>
              </a:ext>
            </a:extLst>
          </p:cNvPr>
          <p:cNvGrpSpPr/>
          <p:nvPr/>
        </p:nvGrpSpPr>
        <p:grpSpPr>
          <a:xfrm>
            <a:off x="5618333" y="2329383"/>
            <a:ext cx="2232001" cy="1436644"/>
            <a:chOff x="5882596" y="2329383"/>
            <a:chExt cx="2232001" cy="1436644"/>
          </a:xfrm>
        </p:grpSpPr>
        <p:cxnSp>
          <p:nvCxnSpPr>
            <p:cNvPr id="45" name="Gerader Verbinder 44">
              <a:extLst>
                <a:ext uri="{FF2B5EF4-FFF2-40B4-BE49-F238E27FC236}">
                  <a16:creationId xmlns:a16="http://schemas.microsoft.com/office/drawing/2014/main" id="{BFD46060-7413-4BDB-B209-CDFFCDD4D385}"/>
                </a:ext>
              </a:extLst>
            </p:cNvPr>
            <p:cNvCxnSpPr/>
            <p:nvPr/>
          </p:nvCxnSpPr>
          <p:spPr>
            <a:xfrm>
              <a:off x="5882597" y="2685197"/>
              <a:ext cx="22320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49" name="Textplatzhalter 5">
              <a:extLst>
                <a:ext uri="{FF2B5EF4-FFF2-40B4-BE49-F238E27FC236}">
                  <a16:creationId xmlns:a16="http://schemas.microsoft.com/office/drawing/2014/main" id="{4060DF15-D569-43F0-983A-BA7109377102}"/>
                </a:ext>
              </a:extLst>
            </p:cNvPr>
            <p:cNvSpPr txBox="1">
              <a:spLocks/>
            </p:cNvSpPr>
            <p:nvPr/>
          </p:nvSpPr>
          <p:spPr>
            <a:xfrm>
              <a:off x="5882596" y="2827308"/>
              <a:ext cx="2232000" cy="938719"/>
            </a:xfrm>
            <a:prstGeom prst="rect">
              <a:avLst/>
            </a:prstGeom>
          </p:spPr>
          <p:txBody>
            <a:bodyPr vert="horz" wrap="square" lIns="0" tIns="0" rIns="0" bIns="0" rtlCol="0">
              <a:spAutoFit/>
            </a:bodyPr>
            <a:lstStyle>
              <a:lvl1pPr marL="0" indent="0" algn="l" defTabSz="914400" rtl="0" eaLnBrk="1" latinLnBrk="0" hangingPunct="1">
                <a:spcBef>
                  <a:spcPts val="0"/>
                </a:spcBef>
                <a:spcAft>
                  <a:spcPts val="0"/>
                </a:spcAft>
                <a:buFont typeface="Arial" pitchFamily="34" charset="0"/>
                <a:buNone/>
                <a:defRPr sz="1600" kern="1200">
                  <a:solidFill>
                    <a:schemeClr val="tx1"/>
                  </a:solidFill>
                  <a:latin typeface="+mn-lt"/>
                  <a:ea typeface="+mn-ea"/>
                  <a:cs typeface="+mn-cs"/>
                </a:defRPr>
              </a:lvl1pPr>
              <a:lvl2pPr marL="144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2pPr>
              <a:lvl3pPr marL="288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3pPr>
              <a:lvl4pPr marL="432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4pPr>
              <a:lvl5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5pPr>
              <a:lvl6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6pPr>
              <a:lvl7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7pPr>
              <a:lvl8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8pPr>
              <a:lvl9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9pPr>
            </a:lstStyle>
            <a:p>
              <a:pPr lvl="1">
                <a:spcBef>
                  <a:spcPts val="600"/>
                </a:spcBef>
                <a:buFont typeface="Wingdings" panose="05000000000000000000" pitchFamily="2" charset="2"/>
                <a:buChar char="§"/>
              </a:pPr>
              <a:r>
                <a:rPr lang="de-DE" sz="1400" dirty="0"/>
                <a:t>Maßnahmen mit Potenzial unter 3%-EBIT-Marge der ABC GmbH abgestimmt</a:t>
              </a:r>
            </a:p>
            <a:p>
              <a:pPr lvl="1">
                <a:spcBef>
                  <a:spcPts val="600"/>
                </a:spcBef>
                <a:buFont typeface="Wingdings" panose="05000000000000000000" pitchFamily="2" charset="2"/>
                <a:buChar char="§"/>
              </a:pPr>
              <a:r>
                <a:rPr lang="de-DE" sz="1400" dirty="0"/>
                <a:t>…</a:t>
              </a:r>
            </a:p>
          </p:txBody>
        </p:sp>
        <p:sp>
          <p:nvSpPr>
            <p:cNvPr id="54" name="Textplatzhalter 5">
              <a:extLst>
                <a:ext uri="{FF2B5EF4-FFF2-40B4-BE49-F238E27FC236}">
                  <a16:creationId xmlns:a16="http://schemas.microsoft.com/office/drawing/2014/main" id="{AF5686C7-5FCE-424F-BA4C-A05774455BBC}"/>
                </a:ext>
              </a:extLst>
            </p:cNvPr>
            <p:cNvSpPr txBox="1">
              <a:spLocks/>
            </p:cNvSpPr>
            <p:nvPr/>
          </p:nvSpPr>
          <p:spPr>
            <a:xfrm>
              <a:off x="5882596" y="2329383"/>
              <a:ext cx="2232000" cy="246221"/>
            </a:xfrm>
            <a:prstGeom prst="rect">
              <a:avLst/>
            </a:prstGeom>
          </p:spPr>
          <p:txBody>
            <a:bodyPr vert="horz" wrap="square" lIns="0" tIns="0" rIns="0" bIns="0" rtlCol="0">
              <a:spAutoFit/>
            </a:bodyPr>
            <a:lstStyle>
              <a:lvl1pPr marL="0" indent="0" algn="l" defTabSz="914400" rtl="0" eaLnBrk="1" latinLnBrk="0" hangingPunct="1">
                <a:spcBef>
                  <a:spcPts val="0"/>
                </a:spcBef>
                <a:spcAft>
                  <a:spcPts val="0"/>
                </a:spcAft>
                <a:buFont typeface="Arial" pitchFamily="34" charset="0"/>
                <a:buNone/>
                <a:defRPr sz="1600" kern="1200">
                  <a:solidFill>
                    <a:schemeClr val="tx1"/>
                  </a:solidFill>
                  <a:latin typeface="+mn-lt"/>
                  <a:ea typeface="+mn-ea"/>
                  <a:cs typeface="+mn-cs"/>
                </a:defRPr>
              </a:lvl1pPr>
              <a:lvl2pPr marL="144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2pPr>
              <a:lvl3pPr marL="288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3pPr>
              <a:lvl4pPr marL="432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4pPr>
              <a:lvl5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5pPr>
              <a:lvl6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6pPr>
              <a:lvl7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7pPr>
              <a:lvl8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8pPr>
              <a:lvl9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9pPr>
            </a:lstStyle>
            <a:p>
              <a:r>
                <a:rPr lang="de-DE" b="1" dirty="0"/>
                <a:t>3. Steuerkreis 17.12.21</a:t>
              </a:r>
            </a:p>
          </p:txBody>
        </p:sp>
      </p:grpSp>
    </p:spTree>
    <p:extLst>
      <p:ext uri="{BB962C8B-B14F-4D97-AF65-F5344CB8AC3E}">
        <p14:creationId xmlns:p14="http://schemas.microsoft.com/office/powerpoint/2010/main" val="122767570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5F987C95-A4ED-4F72-B551-C73C14F5034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6" progId="TCLayout.ActiveDocument.1">
                  <p:embed/>
                </p:oleObj>
              </mc:Choice>
              <mc:Fallback>
                <p:oleObj name="think-cell Folie" r:id="rId3" imgW="425" imgH="426" progId="TCLayout.ActiveDocument.1">
                  <p:embed/>
                  <p:pic>
                    <p:nvPicPr>
                      <p:cNvPr id="5" name="Objekt 4" hidden="1">
                        <a:extLst>
                          <a:ext uri="{FF2B5EF4-FFF2-40B4-BE49-F238E27FC236}">
                            <a16:creationId xmlns:a16="http://schemas.microsoft.com/office/drawing/2014/main" id="{5F987C95-A4ED-4F72-B551-C73C14F5034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53D57545-5140-4A3C-9D72-E83217B177FF}"/>
              </a:ext>
            </a:extLst>
          </p:cNvPr>
          <p:cNvSpPr>
            <a:spLocks noGrp="1"/>
          </p:cNvSpPr>
          <p:nvPr>
            <p:ph type="title"/>
          </p:nvPr>
        </p:nvSpPr>
        <p:spPr/>
        <p:txBody>
          <a:bodyPr vert="horz"/>
          <a:lstStyle/>
          <a:p>
            <a:r>
              <a:rPr lang="de-DE" dirty="0"/>
              <a:t>Entscheidungsanträge für „Gremium“ am tt.mm.jjjj</a:t>
            </a:r>
          </a:p>
        </p:txBody>
      </p:sp>
      <p:sp>
        <p:nvSpPr>
          <p:cNvPr id="23" name="Rechteck 22">
            <a:extLst>
              <a:ext uri="{FF2B5EF4-FFF2-40B4-BE49-F238E27FC236}">
                <a16:creationId xmlns:a16="http://schemas.microsoft.com/office/drawing/2014/main" id="{08006145-E86D-4C9C-A7DE-6BE27C8A2F18}"/>
              </a:ext>
            </a:extLst>
          </p:cNvPr>
          <p:cNvSpPr/>
          <p:nvPr/>
        </p:nvSpPr>
        <p:spPr>
          <a:xfrm>
            <a:off x="10954961" y="69705"/>
            <a:ext cx="900000" cy="252000"/>
          </a:xfrm>
          <a:prstGeom prst="rect">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b="1" dirty="0"/>
              <a:t>Entwurf</a:t>
            </a:r>
          </a:p>
        </p:txBody>
      </p:sp>
      <p:sp>
        <p:nvSpPr>
          <p:cNvPr id="27" name="Textfeld 26">
            <a:extLst>
              <a:ext uri="{FF2B5EF4-FFF2-40B4-BE49-F238E27FC236}">
                <a16:creationId xmlns:a16="http://schemas.microsoft.com/office/drawing/2014/main" id="{FCDA8997-59CD-4C6C-9FCF-BD3522471489}"/>
              </a:ext>
            </a:extLst>
          </p:cNvPr>
          <p:cNvSpPr txBox="1"/>
          <p:nvPr/>
        </p:nvSpPr>
        <p:spPr>
          <a:xfrm>
            <a:off x="334963" y="6544666"/>
            <a:ext cx="1380506" cy="215444"/>
          </a:xfrm>
          <a:prstGeom prst="rect">
            <a:avLst/>
          </a:prstGeom>
          <a:noFill/>
        </p:spPr>
        <p:txBody>
          <a:bodyPr wrap="none" rtlCol="0" anchor="b">
            <a:spAutoFit/>
          </a:bodyPr>
          <a:lstStyle/>
          <a:p>
            <a:r>
              <a:rPr lang="de-DE" sz="800" dirty="0"/>
              <a:t>Quelle: Projektteam Phönix</a:t>
            </a:r>
          </a:p>
        </p:txBody>
      </p:sp>
      <p:graphicFrame>
        <p:nvGraphicFramePr>
          <p:cNvPr id="21" name="Tabelle 8">
            <a:extLst>
              <a:ext uri="{FF2B5EF4-FFF2-40B4-BE49-F238E27FC236}">
                <a16:creationId xmlns:a16="http://schemas.microsoft.com/office/drawing/2014/main" id="{A9BF97C6-8F94-49E3-9934-B4C7E3805545}"/>
              </a:ext>
            </a:extLst>
          </p:cNvPr>
          <p:cNvGraphicFramePr>
            <a:graphicFrameLocks noGrp="1"/>
          </p:cNvGraphicFramePr>
          <p:nvPr>
            <p:extLst>
              <p:ext uri="{D42A27DB-BD31-4B8C-83A1-F6EECF244321}">
                <p14:modId xmlns:p14="http://schemas.microsoft.com/office/powerpoint/2010/main" val="3035676216"/>
              </p:ext>
            </p:extLst>
          </p:nvPr>
        </p:nvGraphicFramePr>
        <p:xfrm>
          <a:off x="334962" y="1125539"/>
          <a:ext cx="11519999" cy="4623948"/>
        </p:xfrm>
        <a:graphic>
          <a:graphicData uri="http://schemas.openxmlformats.org/drawingml/2006/table">
            <a:tbl>
              <a:tblPr firstRow="1" bandRow="1">
                <a:tableStyleId>{5C22544A-7EE6-4342-B048-85BDC9FD1C3A}</a:tableStyleId>
              </a:tblPr>
              <a:tblGrid>
                <a:gridCol w="941359">
                  <a:extLst>
                    <a:ext uri="{9D8B030D-6E8A-4147-A177-3AD203B41FA5}">
                      <a16:colId xmlns:a16="http://schemas.microsoft.com/office/drawing/2014/main" val="1091328136"/>
                    </a:ext>
                  </a:extLst>
                </a:gridCol>
                <a:gridCol w="5954903">
                  <a:extLst>
                    <a:ext uri="{9D8B030D-6E8A-4147-A177-3AD203B41FA5}">
                      <a16:colId xmlns:a16="http://schemas.microsoft.com/office/drawing/2014/main" val="2868156984"/>
                    </a:ext>
                  </a:extLst>
                </a:gridCol>
                <a:gridCol w="2024743">
                  <a:extLst>
                    <a:ext uri="{9D8B030D-6E8A-4147-A177-3AD203B41FA5}">
                      <a16:colId xmlns:a16="http://schemas.microsoft.com/office/drawing/2014/main" val="3781933988"/>
                    </a:ext>
                  </a:extLst>
                </a:gridCol>
                <a:gridCol w="2598994">
                  <a:extLst>
                    <a:ext uri="{9D8B030D-6E8A-4147-A177-3AD203B41FA5}">
                      <a16:colId xmlns:a16="http://schemas.microsoft.com/office/drawing/2014/main" val="188871332"/>
                    </a:ext>
                  </a:extLst>
                </a:gridCol>
              </a:tblGrid>
              <a:tr h="360000">
                <a:tc>
                  <a:txBody>
                    <a:bodyPr/>
                    <a:lstStyle/>
                    <a:p>
                      <a:pPr algn="ctr"/>
                      <a:r>
                        <a:rPr lang="de-DE" sz="1400" b="1" dirty="0"/>
                        <a:t>Nr.</a:t>
                      </a:r>
                    </a:p>
                  </a:txBody>
                  <a:tcPr marL="36000" marR="36000" marT="36000" marB="36000">
                    <a:solidFill>
                      <a:schemeClr val="tx2"/>
                    </a:solidFill>
                  </a:tcPr>
                </a:tc>
                <a:tc>
                  <a:txBody>
                    <a:bodyPr/>
                    <a:lstStyle/>
                    <a:p>
                      <a:pPr algn="ctr"/>
                      <a:r>
                        <a:rPr lang="de-DE" sz="1400" b="1" dirty="0"/>
                        <a:t>Entscheidungsanträge</a:t>
                      </a:r>
                    </a:p>
                  </a:txBody>
                  <a:tcPr marL="36000" marR="36000" marT="36000" marB="36000">
                    <a:solidFill>
                      <a:schemeClr val="tx2"/>
                    </a:solidFill>
                  </a:tcPr>
                </a:tc>
                <a:tc>
                  <a:txBody>
                    <a:bodyPr/>
                    <a:lstStyle/>
                    <a:p>
                      <a:pPr algn="ctr"/>
                      <a:r>
                        <a:rPr lang="de-DE" sz="1400" b="1" dirty="0"/>
                        <a:t>Verantwortlich</a:t>
                      </a:r>
                    </a:p>
                  </a:txBody>
                  <a:tcPr marL="36000" marR="36000" marT="36000" marB="36000">
                    <a:solidFill>
                      <a:schemeClr val="tx2"/>
                    </a:solidFill>
                  </a:tcPr>
                </a:tc>
                <a:tc>
                  <a:txBody>
                    <a:bodyPr/>
                    <a:lstStyle/>
                    <a:p>
                      <a:pPr algn="ctr"/>
                      <a:r>
                        <a:rPr lang="de-DE" sz="1400" b="1" dirty="0"/>
                        <a:t>Termin</a:t>
                      </a:r>
                    </a:p>
                  </a:txBody>
                  <a:tcPr marL="36000" marR="36000" marT="36000" marB="36000">
                    <a:solidFill>
                      <a:schemeClr val="tx2"/>
                    </a:solidFill>
                  </a:tcPr>
                </a:tc>
                <a:extLst>
                  <a:ext uri="{0D108BD9-81ED-4DB2-BD59-A6C34878D82A}">
                    <a16:rowId xmlns:a16="http://schemas.microsoft.com/office/drawing/2014/main" val="1559607796"/>
                  </a:ext>
                </a:extLst>
              </a:tr>
              <a:tr h="710658">
                <a:tc>
                  <a:txBody>
                    <a:bodyPr/>
                    <a:lstStyle/>
                    <a:p>
                      <a:pPr algn="ctr"/>
                      <a:r>
                        <a:rPr lang="de-DE" sz="1200" b="1" dirty="0"/>
                        <a:t>1.</a:t>
                      </a:r>
                    </a:p>
                  </a:txBody>
                  <a:tcPr marL="36000" marR="36000" marT="36000" marB="36000"/>
                </a:tc>
                <a:tc>
                  <a:txBody>
                    <a:bodyPr/>
                    <a:lstStyle/>
                    <a:p>
                      <a:r>
                        <a:rPr lang="de-DE" sz="1200" i="0" dirty="0"/>
                        <a:t>Entscheidungstext – Was soll entschieden werden?</a:t>
                      </a:r>
                    </a:p>
                  </a:txBody>
                  <a:tcPr marL="36000" marR="36000" marT="36000" marB="36000"/>
                </a:tc>
                <a:tc>
                  <a:txBody>
                    <a:bodyPr/>
                    <a:lstStyle/>
                    <a:p>
                      <a:r>
                        <a:rPr lang="de-DE" sz="1200" dirty="0"/>
                        <a:t>Wer ist für die Umsetzung verantwortlich – Name (Abteilung)</a:t>
                      </a:r>
                    </a:p>
                  </a:txBody>
                  <a:tcPr marL="36000" marR="36000" marT="36000" marB="36000"/>
                </a:tc>
                <a:tc>
                  <a:txBody>
                    <a:bodyPr/>
                    <a:lstStyle/>
                    <a:p>
                      <a:r>
                        <a:rPr lang="de-DE" sz="1200" dirty="0"/>
                        <a:t>Bis wann soll die Entscheidung erledigt sein – tt.mm.jjjj</a:t>
                      </a:r>
                    </a:p>
                  </a:txBody>
                  <a:tcPr marL="36000" marR="36000" marT="36000" marB="36000"/>
                </a:tc>
                <a:extLst>
                  <a:ext uri="{0D108BD9-81ED-4DB2-BD59-A6C34878D82A}">
                    <a16:rowId xmlns:a16="http://schemas.microsoft.com/office/drawing/2014/main" val="2390227696"/>
                  </a:ext>
                </a:extLst>
              </a:tr>
              <a:tr h="710658">
                <a:tc>
                  <a:txBody>
                    <a:bodyPr/>
                    <a:lstStyle/>
                    <a:p>
                      <a:pPr algn="ctr"/>
                      <a:r>
                        <a:rPr lang="de-DE" sz="1200" b="1" dirty="0"/>
                        <a:t>2.</a:t>
                      </a:r>
                    </a:p>
                  </a:txBody>
                  <a:tcPr marL="36000" marR="36000" marT="36000" marB="36000"/>
                </a:tc>
                <a:tc>
                  <a:txBody>
                    <a:bodyPr/>
                    <a:lstStyle/>
                    <a:p>
                      <a:r>
                        <a:rPr lang="de-DE" sz="1200" dirty="0"/>
                        <a:t>…</a:t>
                      </a:r>
                    </a:p>
                  </a:txBody>
                  <a:tcPr marL="36000" marR="36000" marT="36000" marB="36000"/>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200" dirty="0"/>
                        <a:t>Name (Abteilung)</a:t>
                      </a:r>
                    </a:p>
                  </a:txBody>
                  <a:tcPr marL="36000" marR="36000" marT="36000" marB="36000"/>
                </a:tc>
                <a:tc>
                  <a:txBody>
                    <a:bodyPr/>
                    <a:lstStyle/>
                    <a:p>
                      <a:r>
                        <a:rPr lang="de-DE" sz="1200" dirty="0"/>
                        <a:t>tt.mm.jjjj</a:t>
                      </a:r>
                    </a:p>
                  </a:txBody>
                  <a:tcPr marL="36000" marR="36000" marT="36000" marB="36000"/>
                </a:tc>
                <a:extLst>
                  <a:ext uri="{0D108BD9-81ED-4DB2-BD59-A6C34878D82A}">
                    <a16:rowId xmlns:a16="http://schemas.microsoft.com/office/drawing/2014/main" val="1190805613"/>
                  </a:ext>
                </a:extLst>
              </a:tr>
              <a:tr h="710658">
                <a:tc>
                  <a:txBody>
                    <a:bodyPr/>
                    <a:lstStyle/>
                    <a:p>
                      <a:pPr algn="ctr"/>
                      <a:r>
                        <a:rPr lang="de-DE" sz="1200" b="1" dirty="0"/>
                        <a:t>3.</a:t>
                      </a:r>
                    </a:p>
                  </a:txBody>
                  <a:tcPr marL="36000" marR="36000" marT="36000" marB="36000"/>
                </a:tc>
                <a:tc>
                  <a:txBody>
                    <a:bodyPr/>
                    <a:lstStyle/>
                    <a:p>
                      <a:r>
                        <a:rPr lang="de-DE" sz="1200" dirty="0"/>
                        <a:t>…</a:t>
                      </a:r>
                    </a:p>
                  </a:txBody>
                  <a:tcPr marL="36000" marR="36000" marT="36000" marB="36000"/>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200" dirty="0"/>
                        <a:t>Name (Abteilung)</a:t>
                      </a:r>
                    </a:p>
                  </a:txBody>
                  <a:tcPr marL="36000" marR="36000" marT="36000" marB="36000"/>
                </a:tc>
                <a:tc>
                  <a:txBody>
                    <a:bodyPr/>
                    <a:lstStyle/>
                    <a:p>
                      <a:r>
                        <a:rPr lang="de-DE" sz="1200" dirty="0"/>
                        <a:t>tt.mm.jjjj</a:t>
                      </a:r>
                    </a:p>
                  </a:txBody>
                  <a:tcPr marL="36000" marR="36000" marT="36000" marB="36000"/>
                </a:tc>
                <a:extLst>
                  <a:ext uri="{0D108BD9-81ED-4DB2-BD59-A6C34878D82A}">
                    <a16:rowId xmlns:a16="http://schemas.microsoft.com/office/drawing/2014/main" val="3172617922"/>
                  </a:ext>
                </a:extLst>
              </a:tr>
              <a:tr h="710658">
                <a:tc>
                  <a:txBody>
                    <a:bodyPr/>
                    <a:lstStyle/>
                    <a:p>
                      <a:pPr algn="ctr"/>
                      <a:r>
                        <a:rPr lang="de-DE" sz="1200" b="1" dirty="0"/>
                        <a:t>4.</a:t>
                      </a:r>
                    </a:p>
                  </a:txBody>
                  <a:tcPr marL="36000" marR="36000" marT="36000" marB="36000"/>
                </a:tc>
                <a:tc>
                  <a:txBody>
                    <a:bodyPr/>
                    <a:lstStyle/>
                    <a:p>
                      <a:r>
                        <a:rPr lang="de-DE" sz="1200" dirty="0"/>
                        <a:t>…</a:t>
                      </a:r>
                    </a:p>
                  </a:txBody>
                  <a:tcPr marL="36000" marR="36000" marT="36000" marB="36000"/>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200" dirty="0"/>
                        <a:t>Name (Abteilung)</a:t>
                      </a:r>
                    </a:p>
                  </a:txBody>
                  <a:tcPr marL="36000" marR="36000" marT="36000" marB="36000"/>
                </a:tc>
                <a:tc>
                  <a:txBody>
                    <a:bodyPr/>
                    <a:lstStyle/>
                    <a:p>
                      <a:r>
                        <a:rPr lang="de-DE" sz="1200" dirty="0"/>
                        <a:t>tt.mm.jjjj</a:t>
                      </a:r>
                    </a:p>
                  </a:txBody>
                  <a:tcPr marL="36000" marR="36000" marT="36000" marB="36000"/>
                </a:tc>
                <a:extLst>
                  <a:ext uri="{0D108BD9-81ED-4DB2-BD59-A6C34878D82A}">
                    <a16:rowId xmlns:a16="http://schemas.microsoft.com/office/drawing/2014/main" val="3184765140"/>
                  </a:ext>
                </a:extLst>
              </a:tr>
              <a:tr h="710658">
                <a:tc>
                  <a:txBody>
                    <a:bodyPr/>
                    <a:lstStyle/>
                    <a:p>
                      <a:pPr algn="ctr"/>
                      <a:r>
                        <a:rPr lang="de-DE" sz="1200" b="1" dirty="0"/>
                        <a:t>5.</a:t>
                      </a:r>
                    </a:p>
                  </a:txBody>
                  <a:tcPr marL="36000" marR="36000" marT="36000" marB="36000"/>
                </a:tc>
                <a:tc>
                  <a:txBody>
                    <a:bodyPr/>
                    <a:lstStyle/>
                    <a:p>
                      <a:r>
                        <a:rPr lang="de-DE" sz="1200" dirty="0"/>
                        <a:t>…</a:t>
                      </a:r>
                    </a:p>
                  </a:txBody>
                  <a:tcPr marL="36000" marR="36000" marT="36000" marB="36000"/>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200" dirty="0"/>
                        <a:t>Name (Abteilung)</a:t>
                      </a:r>
                    </a:p>
                  </a:txBody>
                  <a:tcPr marL="36000" marR="36000" marT="36000" marB="36000"/>
                </a:tc>
                <a:tc>
                  <a:txBody>
                    <a:bodyPr/>
                    <a:lstStyle/>
                    <a:p>
                      <a:r>
                        <a:rPr lang="de-DE" sz="1200" dirty="0"/>
                        <a:t>tt.mm.jjjj</a:t>
                      </a:r>
                    </a:p>
                  </a:txBody>
                  <a:tcPr marL="36000" marR="36000" marT="36000" marB="36000"/>
                </a:tc>
                <a:extLst>
                  <a:ext uri="{0D108BD9-81ED-4DB2-BD59-A6C34878D82A}">
                    <a16:rowId xmlns:a16="http://schemas.microsoft.com/office/drawing/2014/main" val="3097683153"/>
                  </a:ext>
                </a:extLst>
              </a:tr>
              <a:tr h="710658">
                <a:tc>
                  <a:txBody>
                    <a:bodyPr/>
                    <a:lstStyle/>
                    <a:p>
                      <a:pPr algn="ctr"/>
                      <a:r>
                        <a:rPr lang="de-DE" sz="1200" b="1" dirty="0"/>
                        <a:t>6.</a:t>
                      </a:r>
                    </a:p>
                  </a:txBody>
                  <a:tcPr marL="36000" marR="36000" marT="36000" marB="36000"/>
                </a:tc>
                <a:tc>
                  <a:txBody>
                    <a:bodyPr/>
                    <a:lstStyle/>
                    <a:p>
                      <a:r>
                        <a:rPr lang="de-DE" sz="1200" dirty="0"/>
                        <a:t>…</a:t>
                      </a:r>
                    </a:p>
                  </a:txBody>
                  <a:tcPr marL="36000" marR="36000" marT="36000" marB="36000"/>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200" dirty="0"/>
                        <a:t>Name (Abteilung)</a:t>
                      </a:r>
                    </a:p>
                  </a:txBody>
                  <a:tcPr marL="36000" marR="36000" marT="36000" marB="36000"/>
                </a:tc>
                <a:tc>
                  <a:txBody>
                    <a:bodyPr/>
                    <a:lstStyle/>
                    <a:p>
                      <a:r>
                        <a:rPr lang="de-DE" sz="1200" dirty="0"/>
                        <a:t>tt.mm.jjjj</a:t>
                      </a:r>
                    </a:p>
                  </a:txBody>
                  <a:tcPr marL="36000" marR="36000" marT="36000" marB="36000"/>
                </a:tc>
                <a:extLst>
                  <a:ext uri="{0D108BD9-81ED-4DB2-BD59-A6C34878D82A}">
                    <a16:rowId xmlns:a16="http://schemas.microsoft.com/office/drawing/2014/main" val="46150356"/>
                  </a:ext>
                </a:extLst>
              </a:tr>
            </a:tbl>
          </a:graphicData>
        </a:graphic>
      </p:graphicFrame>
    </p:spTree>
    <p:extLst>
      <p:ext uri="{BB962C8B-B14F-4D97-AF65-F5344CB8AC3E}">
        <p14:creationId xmlns:p14="http://schemas.microsoft.com/office/powerpoint/2010/main" val="267625471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7062420D-45C1-4BB4-80E2-85AA2168BDB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6" progId="TCLayout.ActiveDocument.1">
                  <p:embed/>
                </p:oleObj>
              </mc:Choice>
              <mc:Fallback>
                <p:oleObj name="think-cell Folie" r:id="rId3" imgW="425" imgH="426" progId="TCLayout.ActiveDocument.1">
                  <p:embed/>
                  <p:pic>
                    <p:nvPicPr>
                      <p:cNvPr id="7" name="Objekt 6" hidden="1">
                        <a:extLst>
                          <a:ext uri="{FF2B5EF4-FFF2-40B4-BE49-F238E27FC236}">
                            <a16:creationId xmlns:a16="http://schemas.microsoft.com/office/drawing/2014/main" id="{7062420D-45C1-4BB4-80E2-85AA2168BDB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88395490-5244-46CE-8656-58BB910011B6}"/>
              </a:ext>
            </a:extLst>
          </p:cNvPr>
          <p:cNvSpPr>
            <a:spLocks noGrp="1"/>
          </p:cNvSpPr>
          <p:nvPr>
            <p:ph type="title"/>
          </p:nvPr>
        </p:nvSpPr>
        <p:spPr>
          <a:xfrm>
            <a:off x="334963" y="333374"/>
            <a:ext cx="11520000" cy="540000"/>
          </a:xfrm>
        </p:spPr>
        <p:txBody>
          <a:bodyPr vert="horz"/>
          <a:lstStyle/>
          <a:p>
            <a:r>
              <a:rPr lang="de-DE" dirty="0"/>
              <a:t>Anleitung: Wie kopiere ich Folien und Folieninhalte richtig in meine Präsentation?</a:t>
            </a:r>
          </a:p>
        </p:txBody>
      </p:sp>
      <p:sp>
        <p:nvSpPr>
          <p:cNvPr id="30" name="Rechteck 29">
            <a:extLst>
              <a:ext uri="{FF2B5EF4-FFF2-40B4-BE49-F238E27FC236}">
                <a16:creationId xmlns:a16="http://schemas.microsoft.com/office/drawing/2014/main" id="{3A4EB61A-5588-42DC-9691-97F9337BD692}"/>
              </a:ext>
            </a:extLst>
          </p:cNvPr>
          <p:cNvSpPr/>
          <p:nvPr/>
        </p:nvSpPr>
        <p:spPr>
          <a:xfrm>
            <a:off x="10954961" y="69705"/>
            <a:ext cx="900000" cy="252000"/>
          </a:xfrm>
          <a:prstGeom prst="rect">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b="1" dirty="0"/>
              <a:t>Entwurf</a:t>
            </a:r>
          </a:p>
        </p:txBody>
      </p:sp>
      <p:sp>
        <p:nvSpPr>
          <p:cNvPr id="32" name="Textfeld 31">
            <a:extLst>
              <a:ext uri="{FF2B5EF4-FFF2-40B4-BE49-F238E27FC236}">
                <a16:creationId xmlns:a16="http://schemas.microsoft.com/office/drawing/2014/main" id="{8142A767-5FA3-4CA0-9772-B34606F310B9}"/>
              </a:ext>
            </a:extLst>
          </p:cNvPr>
          <p:cNvSpPr txBox="1"/>
          <p:nvPr/>
        </p:nvSpPr>
        <p:spPr>
          <a:xfrm>
            <a:off x="334963" y="6544666"/>
            <a:ext cx="1936749" cy="215444"/>
          </a:xfrm>
          <a:prstGeom prst="rect">
            <a:avLst/>
          </a:prstGeom>
          <a:noFill/>
        </p:spPr>
        <p:txBody>
          <a:bodyPr wrap="none" rtlCol="0" anchor="b">
            <a:spAutoFit/>
          </a:bodyPr>
          <a:lstStyle/>
          <a:p>
            <a:r>
              <a:rPr lang="de-DE" sz="800" dirty="0"/>
              <a:t>Quelle: www.Consulting-University.com</a:t>
            </a:r>
          </a:p>
        </p:txBody>
      </p:sp>
      <p:sp>
        <p:nvSpPr>
          <p:cNvPr id="31" name="Textplatzhalter 5">
            <a:extLst>
              <a:ext uri="{FF2B5EF4-FFF2-40B4-BE49-F238E27FC236}">
                <a16:creationId xmlns:a16="http://schemas.microsoft.com/office/drawing/2014/main" id="{B5894445-A5C1-4F82-93BC-F1DE96638F73}"/>
              </a:ext>
            </a:extLst>
          </p:cNvPr>
          <p:cNvSpPr txBox="1">
            <a:spLocks/>
          </p:cNvSpPr>
          <p:nvPr/>
        </p:nvSpPr>
        <p:spPr>
          <a:xfrm>
            <a:off x="334963" y="1134055"/>
            <a:ext cx="5761037" cy="4383379"/>
          </a:xfrm>
          <a:prstGeom prst="rect">
            <a:avLst/>
          </a:prstGeom>
        </p:spPr>
        <p:txBody>
          <a:bodyPr vert="horz" wrap="square" lIns="0" tIns="0" rIns="0" bIns="0" rtlCol="0" anchor="t">
            <a:spAutoFit/>
          </a:bodyPr>
          <a:lstStyle>
            <a:lvl1pPr marL="0" indent="0" algn="l" defTabSz="914400" rtl="0" eaLnBrk="1" latinLnBrk="0" hangingPunct="1">
              <a:spcBef>
                <a:spcPts val="0"/>
              </a:spcBef>
              <a:spcAft>
                <a:spcPts val="0"/>
              </a:spcAft>
              <a:buFont typeface="Arial" pitchFamily="34" charset="0"/>
              <a:buNone/>
              <a:defRPr sz="1600" kern="1200">
                <a:solidFill>
                  <a:schemeClr val="tx1"/>
                </a:solidFill>
                <a:latin typeface="+mn-lt"/>
                <a:ea typeface="+mn-ea"/>
                <a:cs typeface="+mn-cs"/>
              </a:defRPr>
            </a:lvl1pPr>
            <a:lvl2pPr marL="144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2pPr>
            <a:lvl3pPr marL="288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3pPr>
            <a:lvl4pPr marL="432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4pPr>
            <a:lvl5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5pPr>
            <a:lvl6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6pPr>
            <a:lvl7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7pPr>
            <a:lvl8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8pPr>
            <a:lvl9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9pPr>
          </a:lstStyle>
          <a:p>
            <a:pPr>
              <a:lnSpc>
                <a:spcPct val="150000"/>
              </a:lnSpc>
            </a:pPr>
            <a:r>
              <a:rPr lang="de-DE" dirty="0"/>
              <a:t>Es gibt zwei Möglichkeiten, um Folien zu kopieren:</a:t>
            </a:r>
          </a:p>
          <a:p>
            <a:pPr marL="342900" indent="-342900">
              <a:lnSpc>
                <a:spcPct val="150000"/>
              </a:lnSpc>
              <a:buFont typeface="+mj-lt"/>
              <a:buAutoNum type="arabicPeriod"/>
            </a:pPr>
            <a:r>
              <a:rPr lang="de-DE" b="1" dirty="0"/>
              <a:t>Ganze Folie kopieren und mit einem Rechts-Klick in der Zielpräsentation „Zieldesign verwenden“ einfügen.</a:t>
            </a:r>
            <a:br>
              <a:rPr lang="de-DE" dirty="0"/>
            </a:br>
            <a:r>
              <a:rPr lang="de-DE" dirty="0"/>
              <a:t>Hierbei kann es vorkommen, dass Fußnoten und weitere Elemente nicht richtig eingefügt werden und korrigiert werden müssen. </a:t>
            </a:r>
          </a:p>
          <a:p>
            <a:pPr marL="342900" indent="-342900">
              <a:lnSpc>
                <a:spcPct val="150000"/>
              </a:lnSpc>
              <a:buFont typeface="+mj-lt"/>
              <a:buAutoNum type="arabicPeriod"/>
            </a:pPr>
            <a:endParaRPr lang="de-DE" dirty="0"/>
          </a:p>
          <a:p>
            <a:pPr marL="342900" indent="-342900">
              <a:lnSpc>
                <a:spcPct val="150000"/>
              </a:lnSpc>
              <a:buFont typeface="+mj-lt"/>
              <a:buAutoNum type="arabicPeriod"/>
            </a:pPr>
            <a:r>
              <a:rPr lang="de-DE" b="1" dirty="0"/>
              <a:t>Gewünschte Inhalte einzelner Folien markieren, kopieren und in die Zielpräsentation mit „STRG+V einfügen“ (bzw. mit Rechtsklick einfügen).</a:t>
            </a:r>
            <a:br>
              <a:rPr lang="de-DE" dirty="0"/>
            </a:br>
            <a:r>
              <a:rPr lang="de-DE" dirty="0"/>
              <a:t>Auch hier müssen ggf. Elemente angepasst werden, wenn die Schriftart oder Schriftgröße in der Zielpräsentation anders ist.</a:t>
            </a:r>
          </a:p>
        </p:txBody>
      </p:sp>
      <p:pic>
        <p:nvPicPr>
          <p:cNvPr id="4" name="Grafik 3">
            <a:extLst>
              <a:ext uri="{FF2B5EF4-FFF2-40B4-BE49-F238E27FC236}">
                <a16:creationId xmlns:a16="http://schemas.microsoft.com/office/drawing/2014/main" id="{010414C7-2559-46AF-AA47-1B2AD459B5E8}"/>
              </a:ext>
            </a:extLst>
          </p:cNvPr>
          <p:cNvPicPr>
            <a:picLocks noChangeAspect="1"/>
          </p:cNvPicPr>
          <p:nvPr/>
        </p:nvPicPr>
        <p:blipFill rotWithShape="1">
          <a:blip r:embed="rId5"/>
          <a:srcRect l="898" t="56377" r="87974" b="17176"/>
          <a:stretch/>
        </p:blipFill>
        <p:spPr>
          <a:xfrm>
            <a:off x="7484169" y="1197116"/>
            <a:ext cx="3240000" cy="2165596"/>
          </a:xfrm>
          <a:prstGeom prst="rect">
            <a:avLst/>
          </a:prstGeom>
          <a:ln>
            <a:solidFill>
              <a:schemeClr val="tx1"/>
            </a:solidFill>
          </a:ln>
        </p:spPr>
      </p:pic>
      <p:sp>
        <p:nvSpPr>
          <p:cNvPr id="5" name="Rechteck 4">
            <a:extLst>
              <a:ext uri="{FF2B5EF4-FFF2-40B4-BE49-F238E27FC236}">
                <a16:creationId xmlns:a16="http://schemas.microsoft.com/office/drawing/2014/main" id="{08C2C988-9297-4C46-807E-B7CD3697ECF4}"/>
              </a:ext>
            </a:extLst>
          </p:cNvPr>
          <p:cNvSpPr/>
          <p:nvPr/>
        </p:nvSpPr>
        <p:spPr>
          <a:xfrm>
            <a:off x="9074426" y="2405270"/>
            <a:ext cx="1480931" cy="318052"/>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8" name="Grafik 7">
            <a:extLst>
              <a:ext uri="{FF2B5EF4-FFF2-40B4-BE49-F238E27FC236}">
                <a16:creationId xmlns:a16="http://schemas.microsoft.com/office/drawing/2014/main" id="{74451ADB-5179-4D06-B315-4D14746C2399}"/>
              </a:ext>
            </a:extLst>
          </p:cNvPr>
          <p:cNvPicPr>
            <a:picLocks noChangeAspect="1"/>
          </p:cNvPicPr>
          <p:nvPr/>
        </p:nvPicPr>
        <p:blipFill rotWithShape="1">
          <a:blip r:embed="rId6"/>
          <a:srcRect l="28418" t="30446" r="55653" b="16578"/>
          <a:stretch/>
        </p:blipFill>
        <p:spPr>
          <a:xfrm>
            <a:off x="7778289" y="3686454"/>
            <a:ext cx="2651761" cy="2480575"/>
          </a:xfrm>
          <a:prstGeom prst="rect">
            <a:avLst/>
          </a:prstGeom>
          <a:ln>
            <a:solidFill>
              <a:schemeClr val="tx1"/>
            </a:solidFill>
          </a:ln>
        </p:spPr>
      </p:pic>
      <p:sp>
        <p:nvSpPr>
          <p:cNvPr id="34" name="Rechteck 33">
            <a:extLst>
              <a:ext uri="{FF2B5EF4-FFF2-40B4-BE49-F238E27FC236}">
                <a16:creationId xmlns:a16="http://schemas.microsoft.com/office/drawing/2014/main" id="{CE1D094A-71CA-44E0-8D5F-DF12D0372CA1}"/>
              </a:ext>
            </a:extLst>
          </p:cNvPr>
          <p:cNvSpPr/>
          <p:nvPr/>
        </p:nvSpPr>
        <p:spPr>
          <a:xfrm>
            <a:off x="8671242" y="4252814"/>
            <a:ext cx="1097792" cy="180290"/>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220791201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7062420D-45C1-4BB4-80E2-85AA2168BDB7}"/>
              </a:ext>
            </a:extLst>
          </p:cNvPr>
          <p:cNvGraphicFramePr>
            <a:graphicFrameLocks noChangeAspect="1"/>
          </p:cNvGraphicFramePr>
          <p:nvPr>
            <p:custDataLst>
              <p:tags r:id="rId1"/>
            </p:custDataLst>
            <p:extLst>
              <p:ext uri="{D42A27DB-BD31-4B8C-83A1-F6EECF244321}">
                <p14:modId xmlns:p14="http://schemas.microsoft.com/office/powerpoint/2010/main" val="5894402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6" progId="TCLayout.ActiveDocument.1">
                  <p:embed/>
                </p:oleObj>
              </mc:Choice>
              <mc:Fallback>
                <p:oleObj name="think-cell Folie" r:id="rId3" imgW="425" imgH="426" progId="TCLayout.ActiveDocument.1">
                  <p:embed/>
                  <p:pic>
                    <p:nvPicPr>
                      <p:cNvPr id="7" name="Objekt 6" hidden="1">
                        <a:extLst>
                          <a:ext uri="{FF2B5EF4-FFF2-40B4-BE49-F238E27FC236}">
                            <a16:creationId xmlns:a16="http://schemas.microsoft.com/office/drawing/2014/main" id="{7062420D-45C1-4BB4-80E2-85AA2168BDB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88395490-5244-46CE-8656-58BB910011B6}"/>
              </a:ext>
            </a:extLst>
          </p:cNvPr>
          <p:cNvSpPr>
            <a:spLocks noGrp="1"/>
          </p:cNvSpPr>
          <p:nvPr>
            <p:ph type="title"/>
          </p:nvPr>
        </p:nvSpPr>
        <p:spPr>
          <a:xfrm>
            <a:off x="334963" y="333374"/>
            <a:ext cx="11520000" cy="540000"/>
          </a:xfrm>
        </p:spPr>
        <p:txBody>
          <a:bodyPr vert="horz"/>
          <a:lstStyle/>
          <a:p>
            <a:r>
              <a:rPr lang="de-DE" dirty="0"/>
              <a:t>Mittels Restrukturierungsprojekt soll die Unternehmensvorgabe von 6%-EBIT-Marge für die Tochtergesellschaft ABC GmbH erreicht werden</a:t>
            </a:r>
          </a:p>
        </p:txBody>
      </p:sp>
      <p:cxnSp>
        <p:nvCxnSpPr>
          <p:cNvPr id="14" name="Gerader Verbinder 13">
            <a:extLst>
              <a:ext uri="{FF2B5EF4-FFF2-40B4-BE49-F238E27FC236}">
                <a16:creationId xmlns:a16="http://schemas.microsoft.com/office/drawing/2014/main" id="{B48B5023-1C8F-4E6A-A4A1-3EAC5544CD20}"/>
              </a:ext>
            </a:extLst>
          </p:cNvPr>
          <p:cNvCxnSpPr>
            <a:cxnSpLocks/>
          </p:cNvCxnSpPr>
          <p:nvPr/>
        </p:nvCxnSpPr>
        <p:spPr>
          <a:xfrm>
            <a:off x="958393" y="3751971"/>
            <a:ext cx="4320000" cy="0"/>
          </a:xfrm>
          <a:prstGeom prst="line">
            <a:avLst/>
          </a:prstGeom>
          <a:ln w="12700" cap="rnd">
            <a:solidFill>
              <a:schemeClr val="tx1"/>
            </a:solidFill>
            <a:prstDash val="sysDash"/>
          </a:ln>
        </p:spPr>
        <p:style>
          <a:lnRef idx="1">
            <a:schemeClr val="accent1"/>
          </a:lnRef>
          <a:fillRef idx="0">
            <a:schemeClr val="accent1"/>
          </a:fillRef>
          <a:effectRef idx="0">
            <a:schemeClr val="accent1"/>
          </a:effectRef>
          <a:fontRef idx="minor">
            <a:schemeClr val="tx1"/>
          </a:fontRef>
        </p:style>
      </p:cxnSp>
      <p:cxnSp>
        <p:nvCxnSpPr>
          <p:cNvPr id="17" name="Gerader Verbinder 16">
            <a:extLst>
              <a:ext uri="{FF2B5EF4-FFF2-40B4-BE49-F238E27FC236}">
                <a16:creationId xmlns:a16="http://schemas.microsoft.com/office/drawing/2014/main" id="{1EC4B2B9-7936-427B-86D5-5D9F7DBBFA22}"/>
              </a:ext>
            </a:extLst>
          </p:cNvPr>
          <p:cNvCxnSpPr>
            <a:cxnSpLocks/>
          </p:cNvCxnSpPr>
          <p:nvPr/>
        </p:nvCxnSpPr>
        <p:spPr>
          <a:xfrm>
            <a:off x="958393" y="4817891"/>
            <a:ext cx="4320000" cy="0"/>
          </a:xfrm>
          <a:prstGeom prst="line">
            <a:avLst/>
          </a:prstGeom>
          <a:ln w="12700" cap="rnd">
            <a:solidFill>
              <a:schemeClr val="tx1"/>
            </a:solidFill>
            <a:prstDash val="sysDash"/>
          </a:ln>
        </p:spPr>
        <p:style>
          <a:lnRef idx="1">
            <a:schemeClr val="accent1"/>
          </a:lnRef>
          <a:fillRef idx="0">
            <a:schemeClr val="accent1"/>
          </a:fillRef>
          <a:effectRef idx="0">
            <a:schemeClr val="accent1"/>
          </a:effectRef>
          <a:fontRef idx="minor">
            <a:schemeClr val="tx1"/>
          </a:fontRef>
        </p:style>
      </p:cxnSp>
      <p:sp>
        <p:nvSpPr>
          <p:cNvPr id="22" name="Textplatzhalter 5">
            <a:extLst>
              <a:ext uri="{FF2B5EF4-FFF2-40B4-BE49-F238E27FC236}">
                <a16:creationId xmlns:a16="http://schemas.microsoft.com/office/drawing/2014/main" id="{6703BB92-6762-4767-8955-ED638C0D0550}"/>
              </a:ext>
            </a:extLst>
          </p:cNvPr>
          <p:cNvSpPr txBox="1">
            <a:spLocks/>
          </p:cNvSpPr>
          <p:nvPr/>
        </p:nvSpPr>
        <p:spPr>
          <a:xfrm>
            <a:off x="958393" y="2972790"/>
            <a:ext cx="4320000" cy="492443"/>
          </a:xfrm>
          <a:prstGeom prst="rect">
            <a:avLst/>
          </a:prstGeom>
        </p:spPr>
        <p:txBody>
          <a:bodyPr vert="horz" wrap="square" lIns="0" tIns="0" rIns="0" bIns="0" rtlCol="0" anchor="ctr">
            <a:spAutoFit/>
          </a:bodyPr>
          <a:lstStyle>
            <a:lvl1pPr marL="0" indent="0" algn="l" defTabSz="914400" rtl="0" eaLnBrk="1" latinLnBrk="0" hangingPunct="1">
              <a:spcBef>
                <a:spcPts val="0"/>
              </a:spcBef>
              <a:spcAft>
                <a:spcPts val="0"/>
              </a:spcAft>
              <a:buFont typeface="Arial" pitchFamily="34" charset="0"/>
              <a:buNone/>
              <a:defRPr sz="1600" kern="1200">
                <a:solidFill>
                  <a:schemeClr val="tx1"/>
                </a:solidFill>
                <a:latin typeface="+mn-lt"/>
                <a:ea typeface="+mn-ea"/>
                <a:cs typeface="+mn-cs"/>
              </a:defRPr>
            </a:lvl1pPr>
            <a:lvl2pPr marL="144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2pPr>
            <a:lvl3pPr marL="288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3pPr>
            <a:lvl4pPr marL="432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4pPr>
            <a:lvl5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5pPr>
            <a:lvl6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6pPr>
            <a:lvl7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7pPr>
            <a:lvl8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8pPr>
            <a:lvl9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9pPr>
          </a:lstStyle>
          <a:p>
            <a:r>
              <a:rPr lang="de-DE" dirty="0"/>
              <a:t>Negatives Geschäftsergebnis bei Tochtergesellschaft ABC GmbH</a:t>
            </a:r>
            <a:endParaRPr lang="de-DE" dirty="0">
              <a:solidFill>
                <a:schemeClr val="accent2"/>
              </a:solidFill>
            </a:endParaRPr>
          </a:p>
        </p:txBody>
      </p:sp>
      <p:sp>
        <p:nvSpPr>
          <p:cNvPr id="23" name="Textplatzhalter 5">
            <a:extLst>
              <a:ext uri="{FF2B5EF4-FFF2-40B4-BE49-F238E27FC236}">
                <a16:creationId xmlns:a16="http://schemas.microsoft.com/office/drawing/2014/main" id="{D00D13BA-8EE0-4366-B91D-48F1D733F001}"/>
              </a:ext>
            </a:extLst>
          </p:cNvPr>
          <p:cNvSpPr txBox="1">
            <a:spLocks/>
          </p:cNvSpPr>
          <p:nvPr/>
        </p:nvSpPr>
        <p:spPr>
          <a:xfrm>
            <a:off x="958393" y="4161821"/>
            <a:ext cx="4320000" cy="246221"/>
          </a:xfrm>
          <a:prstGeom prst="rect">
            <a:avLst/>
          </a:prstGeom>
        </p:spPr>
        <p:txBody>
          <a:bodyPr vert="horz" wrap="square" lIns="0" tIns="0" rIns="0" bIns="0" rtlCol="0" anchor="ctr">
            <a:spAutoFit/>
          </a:bodyPr>
          <a:lstStyle>
            <a:lvl1pPr marL="0" indent="0" algn="l" defTabSz="914400" rtl="0" eaLnBrk="1" latinLnBrk="0" hangingPunct="1">
              <a:spcBef>
                <a:spcPts val="0"/>
              </a:spcBef>
              <a:spcAft>
                <a:spcPts val="0"/>
              </a:spcAft>
              <a:buFont typeface="Arial" pitchFamily="34" charset="0"/>
              <a:buNone/>
              <a:defRPr sz="1600" kern="1200">
                <a:solidFill>
                  <a:schemeClr val="tx1"/>
                </a:solidFill>
                <a:latin typeface="+mn-lt"/>
                <a:ea typeface="+mn-ea"/>
                <a:cs typeface="+mn-cs"/>
              </a:defRPr>
            </a:lvl1pPr>
            <a:lvl2pPr marL="144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2pPr>
            <a:lvl3pPr marL="288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3pPr>
            <a:lvl4pPr marL="432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4pPr>
            <a:lvl5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5pPr>
            <a:lvl6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6pPr>
            <a:lvl7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7pPr>
            <a:lvl8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8pPr>
            <a:lvl9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9pPr>
          </a:lstStyle>
          <a:p>
            <a:r>
              <a:rPr lang="de-DE" dirty="0"/>
              <a:t>Unternehmensvorgabe sieht 6%-EBIT-Marge vor</a:t>
            </a:r>
          </a:p>
        </p:txBody>
      </p:sp>
      <p:sp>
        <p:nvSpPr>
          <p:cNvPr id="24" name="Textplatzhalter 5">
            <a:extLst>
              <a:ext uri="{FF2B5EF4-FFF2-40B4-BE49-F238E27FC236}">
                <a16:creationId xmlns:a16="http://schemas.microsoft.com/office/drawing/2014/main" id="{20AAF006-BDFE-4E07-84A3-A41A46463147}"/>
              </a:ext>
            </a:extLst>
          </p:cNvPr>
          <p:cNvSpPr txBox="1">
            <a:spLocks/>
          </p:cNvSpPr>
          <p:nvPr/>
        </p:nvSpPr>
        <p:spPr>
          <a:xfrm>
            <a:off x="958393" y="4982781"/>
            <a:ext cx="4320000" cy="984885"/>
          </a:xfrm>
          <a:prstGeom prst="rect">
            <a:avLst/>
          </a:prstGeom>
        </p:spPr>
        <p:txBody>
          <a:bodyPr vert="horz" wrap="square" lIns="0" tIns="0" rIns="0" bIns="0" rtlCol="0" anchor="ctr">
            <a:spAutoFit/>
          </a:bodyPr>
          <a:lstStyle>
            <a:lvl1pPr marL="0" indent="0" algn="l" defTabSz="914400" rtl="0" eaLnBrk="1" latinLnBrk="0" hangingPunct="1">
              <a:spcBef>
                <a:spcPts val="0"/>
              </a:spcBef>
              <a:spcAft>
                <a:spcPts val="0"/>
              </a:spcAft>
              <a:buFont typeface="Arial" pitchFamily="34" charset="0"/>
              <a:buNone/>
              <a:defRPr sz="1600" kern="1200">
                <a:solidFill>
                  <a:schemeClr val="tx1"/>
                </a:solidFill>
                <a:latin typeface="+mn-lt"/>
                <a:ea typeface="+mn-ea"/>
                <a:cs typeface="+mn-cs"/>
              </a:defRPr>
            </a:lvl1pPr>
            <a:lvl2pPr marL="144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2pPr>
            <a:lvl3pPr marL="288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3pPr>
            <a:lvl4pPr marL="432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4pPr>
            <a:lvl5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5pPr>
            <a:lvl6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6pPr>
            <a:lvl7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7pPr>
            <a:lvl8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8pPr>
            <a:lvl9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9pPr>
          </a:lstStyle>
          <a:p>
            <a:r>
              <a:rPr lang="de-DE" dirty="0"/>
              <a:t>Aufgrund aktueller Entwicklungen wird nicht davon ausgegangen, dass die Tochtergesellschaft 6%-EBIT-Margen mit eigenen Kräften erwirtschaftet</a:t>
            </a:r>
          </a:p>
        </p:txBody>
      </p:sp>
      <p:sp>
        <p:nvSpPr>
          <p:cNvPr id="28" name="Textplatzhalter 5">
            <a:extLst>
              <a:ext uri="{FF2B5EF4-FFF2-40B4-BE49-F238E27FC236}">
                <a16:creationId xmlns:a16="http://schemas.microsoft.com/office/drawing/2014/main" id="{82FB4926-915E-46F8-A58B-C44CE8303F0D}"/>
              </a:ext>
            </a:extLst>
          </p:cNvPr>
          <p:cNvSpPr txBox="1">
            <a:spLocks/>
          </p:cNvSpPr>
          <p:nvPr/>
        </p:nvSpPr>
        <p:spPr>
          <a:xfrm>
            <a:off x="958393" y="2098216"/>
            <a:ext cx="4320000" cy="289843"/>
          </a:xfrm>
          <a:prstGeom prst="rect">
            <a:avLst/>
          </a:prstGeom>
        </p:spPr>
        <p:txBody>
          <a:bodyPr vert="horz" wrap="square" lIns="0" tIns="43200" rIns="0" bIns="0" rtlCol="0" anchor="ctr">
            <a:spAutoFit/>
          </a:bodyPr>
          <a:lstStyle>
            <a:lvl1pPr marL="0" indent="0" algn="l" defTabSz="914400" rtl="0" eaLnBrk="1" latinLnBrk="0" hangingPunct="1">
              <a:spcBef>
                <a:spcPts val="0"/>
              </a:spcBef>
              <a:spcAft>
                <a:spcPts val="0"/>
              </a:spcAft>
              <a:buFont typeface="Arial" pitchFamily="34" charset="0"/>
              <a:buNone/>
              <a:defRPr sz="1600" kern="1200">
                <a:solidFill>
                  <a:schemeClr val="tx1"/>
                </a:solidFill>
                <a:latin typeface="+mn-lt"/>
                <a:ea typeface="+mn-ea"/>
                <a:cs typeface="+mn-cs"/>
              </a:defRPr>
            </a:lvl1pPr>
            <a:lvl2pPr marL="144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2pPr>
            <a:lvl3pPr marL="288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3pPr>
            <a:lvl4pPr marL="432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4pPr>
            <a:lvl5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5pPr>
            <a:lvl6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6pPr>
            <a:lvl7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7pPr>
            <a:lvl8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8pPr>
            <a:lvl9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9pPr>
          </a:lstStyle>
          <a:p>
            <a:r>
              <a:rPr lang="de-DE" b="1" dirty="0"/>
              <a:t>Problemstellung</a:t>
            </a:r>
          </a:p>
        </p:txBody>
      </p:sp>
      <p:sp>
        <p:nvSpPr>
          <p:cNvPr id="12" name="Rechteck 11">
            <a:extLst>
              <a:ext uri="{FF2B5EF4-FFF2-40B4-BE49-F238E27FC236}">
                <a16:creationId xmlns:a16="http://schemas.microsoft.com/office/drawing/2014/main" id="{6B4E6A59-8262-4253-AB22-7648EA0F5B4D}"/>
              </a:ext>
            </a:extLst>
          </p:cNvPr>
          <p:cNvSpPr/>
          <p:nvPr/>
        </p:nvSpPr>
        <p:spPr>
          <a:xfrm>
            <a:off x="6240325" y="1659834"/>
            <a:ext cx="5474675" cy="4540941"/>
          </a:xfrm>
          <a:prstGeom prst="rect">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36000" rIns="91440" bIns="0" numCol="1" spcCol="0" rtlCol="0" fromWordArt="0" anchor="ctr" anchorCtr="0" forceAA="0" compatLnSpc="1">
            <a:prstTxWarp prst="textNoShape">
              <a:avLst/>
            </a:prstTxWarp>
            <a:noAutofit/>
          </a:bodyPr>
          <a:lstStyle/>
          <a:p>
            <a:pPr algn="ctr"/>
            <a:endParaRPr lang="en-US" sz="1600" dirty="0">
              <a:solidFill>
                <a:schemeClr val="tx1"/>
              </a:solidFill>
            </a:endParaRPr>
          </a:p>
        </p:txBody>
      </p:sp>
      <p:cxnSp>
        <p:nvCxnSpPr>
          <p:cNvPr id="15" name="Gerader Verbinder 14">
            <a:extLst>
              <a:ext uri="{FF2B5EF4-FFF2-40B4-BE49-F238E27FC236}">
                <a16:creationId xmlns:a16="http://schemas.microsoft.com/office/drawing/2014/main" id="{ACF49084-10BE-47BE-BA81-14A68F71692A}"/>
              </a:ext>
            </a:extLst>
          </p:cNvPr>
          <p:cNvCxnSpPr>
            <a:cxnSpLocks/>
          </p:cNvCxnSpPr>
          <p:nvPr/>
        </p:nvCxnSpPr>
        <p:spPr>
          <a:xfrm>
            <a:off x="6659202" y="2686051"/>
            <a:ext cx="4636921" cy="0"/>
          </a:xfrm>
          <a:prstGeom prst="line">
            <a:avLst/>
          </a:prstGeom>
          <a:ln w="12700" cap="sq">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6" name="Gerader Verbinder 15">
            <a:extLst>
              <a:ext uri="{FF2B5EF4-FFF2-40B4-BE49-F238E27FC236}">
                <a16:creationId xmlns:a16="http://schemas.microsoft.com/office/drawing/2014/main" id="{BE3FE625-EC7A-4899-A67A-B9869B84044A}"/>
              </a:ext>
            </a:extLst>
          </p:cNvPr>
          <p:cNvCxnSpPr/>
          <p:nvPr/>
        </p:nvCxnSpPr>
        <p:spPr>
          <a:xfrm>
            <a:off x="6659202" y="3751971"/>
            <a:ext cx="4636921" cy="0"/>
          </a:xfrm>
          <a:prstGeom prst="line">
            <a:avLst/>
          </a:prstGeom>
          <a:ln w="12700" cap="rnd">
            <a:solidFill>
              <a:schemeClr val="tx1"/>
            </a:solidFill>
            <a:prstDash val="sysDash"/>
          </a:ln>
        </p:spPr>
        <p:style>
          <a:lnRef idx="1">
            <a:schemeClr val="accent1"/>
          </a:lnRef>
          <a:fillRef idx="0">
            <a:schemeClr val="accent1"/>
          </a:fillRef>
          <a:effectRef idx="0">
            <a:schemeClr val="accent1"/>
          </a:effectRef>
          <a:fontRef idx="minor">
            <a:schemeClr val="tx1"/>
          </a:fontRef>
        </p:style>
      </p:cxnSp>
      <p:cxnSp>
        <p:nvCxnSpPr>
          <p:cNvPr id="18" name="Gerader Verbinder 17">
            <a:extLst>
              <a:ext uri="{FF2B5EF4-FFF2-40B4-BE49-F238E27FC236}">
                <a16:creationId xmlns:a16="http://schemas.microsoft.com/office/drawing/2014/main" id="{71B3A066-77B8-40F9-B6AD-9EB21E4DEA9E}"/>
              </a:ext>
            </a:extLst>
          </p:cNvPr>
          <p:cNvCxnSpPr/>
          <p:nvPr/>
        </p:nvCxnSpPr>
        <p:spPr>
          <a:xfrm>
            <a:off x="6659202" y="4817891"/>
            <a:ext cx="4636921" cy="0"/>
          </a:xfrm>
          <a:prstGeom prst="line">
            <a:avLst/>
          </a:prstGeom>
          <a:ln w="12700" cap="rnd">
            <a:solidFill>
              <a:schemeClr val="tx1"/>
            </a:solidFill>
            <a:prstDash val="sysDash"/>
          </a:ln>
        </p:spPr>
        <p:style>
          <a:lnRef idx="1">
            <a:schemeClr val="accent1"/>
          </a:lnRef>
          <a:fillRef idx="0">
            <a:schemeClr val="accent1"/>
          </a:fillRef>
          <a:effectRef idx="0">
            <a:schemeClr val="accent1"/>
          </a:effectRef>
          <a:fontRef idx="minor">
            <a:schemeClr val="tx1"/>
          </a:fontRef>
        </p:style>
      </p:cxnSp>
      <p:sp>
        <p:nvSpPr>
          <p:cNvPr id="25" name="Textplatzhalter 5">
            <a:extLst>
              <a:ext uri="{FF2B5EF4-FFF2-40B4-BE49-F238E27FC236}">
                <a16:creationId xmlns:a16="http://schemas.microsoft.com/office/drawing/2014/main" id="{23EF1F92-17C3-4E32-90B2-5699F41B3F1E}"/>
              </a:ext>
            </a:extLst>
          </p:cNvPr>
          <p:cNvSpPr txBox="1">
            <a:spLocks/>
          </p:cNvSpPr>
          <p:nvPr/>
        </p:nvSpPr>
        <p:spPr>
          <a:xfrm>
            <a:off x="6659202" y="2849680"/>
            <a:ext cx="4636921" cy="738664"/>
          </a:xfrm>
          <a:prstGeom prst="rect">
            <a:avLst/>
          </a:prstGeom>
        </p:spPr>
        <p:txBody>
          <a:bodyPr vert="horz" wrap="square" lIns="0" tIns="0" rIns="0" bIns="0" rtlCol="0" anchor="ctr">
            <a:spAutoFit/>
          </a:bodyPr>
          <a:lstStyle>
            <a:lvl1pPr marL="0" indent="0" algn="l" defTabSz="914400" rtl="0" eaLnBrk="1" latinLnBrk="0" hangingPunct="1">
              <a:spcBef>
                <a:spcPts val="0"/>
              </a:spcBef>
              <a:spcAft>
                <a:spcPts val="0"/>
              </a:spcAft>
              <a:buFont typeface="Arial" pitchFamily="34" charset="0"/>
              <a:buNone/>
              <a:defRPr sz="1600" kern="1200">
                <a:solidFill>
                  <a:schemeClr val="tx1"/>
                </a:solidFill>
                <a:latin typeface="+mn-lt"/>
                <a:ea typeface="+mn-ea"/>
                <a:cs typeface="+mn-cs"/>
              </a:defRPr>
            </a:lvl1pPr>
            <a:lvl2pPr marL="144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2pPr>
            <a:lvl3pPr marL="288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3pPr>
            <a:lvl4pPr marL="432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4pPr>
            <a:lvl5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5pPr>
            <a:lvl6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6pPr>
            <a:lvl7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7pPr>
            <a:lvl8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8pPr>
            <a:lvl9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9pPr>
          </a:lstStyle>
          <a:p>
            <a:r>
              <a:rPr lang="de-DE" dirty="0"/>
              <a:t>Durchführung eines Restrukturierungsprojekts zur Schließung der EBIT-Lücke bis 30.06.2022 bei der ABC GmbH</a:t>
            </a:r>
          </a:p>
        </p:txBody>
      </p:sp>
      <p:sp>
        <p:nvSpPr>
          <p:cNvPr id="26" name="Textplatzhalter 5">
            <a:extLst>
              <a:ext uri="{FF2B5EF4-FFF2-40B4-BE49-F238E27FC236}">
                <a16:creationId xmlns:a16="http://schemas.microsoft.com/office/drawing/2014/main" id="{2CAD8ED4-5BC7-4875-8205-457D5E09F4C8}"/>
              </a:ext>
            </a:extLst>
          </p:cNvPr>
          <p:cNvSpPr txBox="1">
            <a:spLocks/>
          </p:cNvSpPr>
          <p:nvPr/>
        </p:nvSpPr>
        <p:spPr>
          <a:xfrm>
            <a:off x="6659202" y="4038711"/>
            <a:ext cx="4636921" cy="492443"/>
          </a:xfrm>
          <a:prstGeom prst="rect">
            <a:avLst/>
          </a:prstGeom>
        </p:spPr>
        <p:txBody>
          <a:bodyPr vert="horz" wrap="square" lIns="0" tIns="0" rIns="0" bIns="0" rtlCol="0" anchor="ctr">
            <a:spAutoFit/>
          </a:bodyPr>
          <a:lstStyle>
            <a:lvl1pPr marL="0" indent="0" algn="l" defTabSz="914400" rtl="0" eaLnBrk="1" latinLnBrk="0" hangingPunct="1">
              <a:spcBef>
                <a:spcPts val="0"/>
              </a:spcBef>
              <a:spcAft>
                <a:spcPts val="0"/>
              </a:spcAft>
              <a:buFont typeface="Arial" pitchFamily="34" charset="0"/>
              <a:buNone/>
              <a:defRPr sz="1600" kern="1200">
                <a:solidFill>
                  <a:schemeClr val="tx1"/>
                </a:solidFill>
                <a:latin typeface="+mn-lt"/>
                <a:ea typeface="+mn-ea"/>
                <a:cs typeface="+mn-cs"/>
              </a:defRPr>
            </a:lvl1pPr>
            <a:lvl2pPr marL="144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2pPr>
            <a:lvl3pPr marL="288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3pPr>
            <a:lvl4pPr marL="432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4pPr>
            <a:lvl5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5pPr>
            <a:lvl6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6pPr>
            <a:lvl7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7pPr>
            <a:lvl8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8pPr>
            <a:lvl9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9pPr>
          </a:lstStyle>
          <a:p>
            <a:r>
              <a:rPr lang="de-DE" dirty="0"/>
              <a:t>Umsetzung eines Maßnahmenkatalogs zur Erreichung der 6%-EBIT-Marge bis 30.06.2022</a:t>
            </a:r>
          </a:p>
        </p:txBody>
      </p:sp>
      <p:sp>
        <p:nvSpPr>
          <p:cNvPr id="27" name="Textplatzhalter 5">
            <a:extLst>
              <a:ext uri="{FF2B5EF4-FFF2-40B4-BE49-F238E27FC236}">
                <a16:creationId xmlns:a16="http://schemas.microsoft.com/office/drawing/2014/main" id="{0F64A8B2-546A-4B22-B212-B35733BAFDC6}"/>
              </a:ext>
            </a:extLst>
          </p:cNvPr>
          <p:cNvSpPr txBox="1">
            <a:spLocks/>
          </p:cNvSpPr>
          <p:nvPr/>
        </p:nvSpPr>
        <p:spPr>
          <a:xfrm>
            <a:off x="6659202" y="4982781"/>
            <a:ext cx="4636921" cy="738664"/>
          </a:xfrm>
          <a:prstGeom prst="rect">
            <a:avLst/>
          </a:prstGeom>
        </p:spPr>
        <p:txBody>
          <a:bodyPr vert="horz" wrap="square" lIns="0" tIns="0" rIns="0" bIns="0" rtlCol="0">
            <a:spAutoFit/>
          </a:bodyPr>
          <a:lstStyle>
            <a:lvl1pPr marL="0" indent="0" algn="l" defTabSz="914400" rtl="0" eaLnBrk="1" latinLnBrk="0" hangingPunct="1">
              <a:spcBef>
                <a:spcPts val="0"/>
              </a:spcBef>
              <a:spcAft>
                <a:spcPts val="0"/>
              </a:spcAft>
              <a:buFont typeface="Arial" pitchFamily="34" charset="0"/>
              <a:buNone/>
              <a:defRPr sz="1600" kern="1200">
                <a:solidFill>
                  <a:schemeClr val="tx1"/>
                </a:solidFill>
                <a:latin typeface="+mn-lt"/>
                <a:ea typeface="+mn-ea"/>
                <a:cs typeface="+mn-cs"/>
              </a:defRPr>
            </a:lvl1pPr>
            <a:lvl2pPr marL="144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2pPr>
            <a:lvl3pPr marL="288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3pPr>
            <a:lvl4pPr marL="432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4pPr>
            <a:lvl5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5pPr>
            <a:lvl6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6pPr>
            <a:lvl7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7pPr>
            <a:lvl8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8pPr>
            <a:lvl9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9pPr>
          </a:lstStyle>
          <a:p>
            <a:r>
              <a:rPr lang="de-DE" dirty="0"/>
              <a:t>Umsetzung von weiteren Restrukturierungs-maßnahmen zur Erreichung weiterer 1,5%-Punkte EBIT-Marge bis 30.06.2022 als Sicherheitspuffer </a:t>
            </a:r>
          </a:p>
        </p:txBody>
      </p:sp>
      <p:sp>
        <p:nvSpPr>
          <p:cNvPr id="29" name="Textplatzhalter 5">
            <a:extLst>
              <a:ext uri="{FF2B5EF4-FFF2-40B4-BE49-F238E27FC236}">
                <a16:creationId xmlns:a16="http://schemas.microsoft.com/office/drawing/2014/main" id="{259A7D61-E646-45E7-A5DE-847367729D3B}"/>
              </a:ext>
            </a:extLst>
          </p:cNvPr>
          <p:cNvSpPr txBox="1">
            <a:spLocks/>
          </p:cNvSpPr>
          <p:nvPr/>
        </p:nvSpPr>
        <p:spPr>
          <a:xfrm>
            <a:off x="6659202" y="2098216"/>
            <a:ext cx="3390866" cy="289843"/>
          </a:xfrm>
          <a:prstGeom prst="rect">
            <a:avLst/>
          </a:prstGeom>
        </p:spPr>
        <p:txBody>
          <a:bodyPr vert="horz" wrap="square" lIns="0" tIns="43200" rIns="0" bIns="0" rtlCol="0" anchor="ctr">
            <a:spAutoFit/>
          </a:bodyPr>
          <a:lstStyle>
            <a:lvl1pPr marL="0" indent="0" algn="l" defTabSz="914400" rtl="0" eaLnBrk="1" latinLnBrk="0" hangingPunct="1">
              <a:spcBef>
                <a:spcPts val="0"/>
              </a:spcBef>
              <a:spcAft>
                <a:spcPts val="0"/>
              </a:spcAft>
              <a:buFont typeface="Arial" pitchFamily="34" charset="0"/>
              <a:buNone/>
              <a:defRPr sz="1600" kern="1200">
                <a:solidFill>
                  <a:schemeClr val="tx1"/>
                </a:solidFill>
                <a:latin typeface="+mn-lt"/>
                <a:ea typeface="+mn-ea"/>
                <a:cs typeface="+mn-cs"/>
              </a:defRPr>
            </a:lvl1pPr>
            <a:lvl2pPr marL="144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2pPr>
            <a:lvl3pPr marL="288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3pPr>
            <a:lvl4pPr marL="432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4pPr>
            <a:lvl5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5pPr>
            <a:lvl6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6pPr>
            <a:lvl7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7pPr>
            <a:lvl8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8pPr>
            <a:lvl9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9pPr>
          </a:lstStyle>
          <a:p>
            <a:r>
              <a:rPr lang="de-DE" b="1" dirty="0"/>
              <a:t>Zielsetzung des Projekts</a:t>
            </a:r>
          </a:p>
        </p:txBody>
      </p:sp>
      <p:cxnSp>
        <p:nvCxnSpPr>
          <p:cNvPr id="33" name="Gerader Verbinder 32">
            <a:extLst>
              <a:ext uri="{FF2B5EF4-FFF2-40B4-BE49-F238E27FC236}">
                <a16:creationId xmlns:a16="http://schemas.microsoft.com/office/drawing/2014/main" id="{9ADD31FF-97D5-46B9-97C6-D81C6195AF0E}"/>
              </a:ext>
            </a:extLst>
          </p:cNvPr>
          <p:cNvCxnSpPr>
            <a:cxnSpLocks/>
          </p:cNvCxnSpPr>
          <p:nvPr/>
        </p:nvCxnSpPr>
        <p:spPr>
          <a:xfrm>
            <a:off x="958393" y="2686051"/>
            <a:ext cx="4320000" cy="0"/>
          </a:xfrm>
          <a:prstGeom prst="line">
            <a:avLst/>
          </a:prstGeom>
          <a:ln w="12700" cap="sq">
            <a:solidFill>
              <a:schemeClr val="tx1"/>
            </a:solidFill>
            <a:prstDash val="solid"/>
          </a:ln>
        </p:spPr>
        <p:style>
          <a:lnRef idx="1">
            <a:schemeClr val="accent1"/>
          </a:lnRef>
          <a:fillRef idx="0">
            <a:schemeClr val="accent1"/>
          </a:fillRef>
          <a:effectRef idx="0">
            <a:schemeClr val="accent1"/>
          </a:effectRef>
          <a:fontRef idx="minor">
            <a:schemeClr val="tx1"/>
          </a:fontRef>
        </p:style>
      </p:cxnSp>
      <p:sp>
        <p:nvSpPr>
          <p:cNvPr id="30" name="Rechteck 29">
            <a:extLst>
              <a:ext uri="{FF2B5EF4-FFF2-40B4-BE49-F238E27FC236}">
                <a16:creationId xmlns:a16="http://schemas.microsoft.com/office/drawing/2014/main" id="{3A4EB61A-5588-42DC-9691-97F9337BD692}"/>
              </a:ext>
            </a:extLst>
          </p:cNvPr>
          <p:cNvSpPr/>
          <p:nvPr/>
        </p:nvSpPr>
        <p:spPr>
          <a:xfrm>
            <a:off x="10954961" y="69705"/>
            <a:ext cx="900000" cy="252000"/>
          </a:xfrm>
          <a:prstGeom prst="rect">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b="1" dirty="0"/>
              <a:t>Entwurf</a:t>
            </a:r>
          </a:p>
        </p:txBody>
      </p:sp>
      <p:sp>
        <p:nvSpPr>
          <p:cNvPr id="32" name="Textfeld 31">
            <a:extLst>
              <a:ext uri="{FF2B5EF4-FFF2-40B4-BE49-F238E27FC236}">
                <a16:creationId xmlns:a16="http://schemas.microsoft.com/office/drawing/2014/main" id="{8142A767-5FA3-4CA0-9772-B34606F310B9}"/>
              </a:ext>
            </a:extLst>
          </p:cNvPr>
          <p:cNvSpPr txBox="1"/>
          <p:nvPr/>
        </p:nvSpPr>
        <p:spPr>
          <a:xfrm>
            <a:off x="334963" y="6544666"/>
            <a:ext cx="1380506" cy="215444"/>
          </a:xfrm>
          <a:prstGeom prst="rect">
            <a:avLst/>
          </a:prstGeom>
          <a:noFill/>
        </p:spPr>
        <p:txBody>
          <a:bodyPr wrap="none" rtlCol="0" anchor="b">
            <a:spAutoFit/>
          </a:bodyPr>
          <a:lstStyle/>
          <a:p>
            <a:r>
              <a:rPr lang="de-DE" sz="800" dirty="0"/>
              <a:t>Quelle: Projektteam Phönix</a:t>
            </a:r>
          </a:p>
        </p:txBody>
      </p:sp>
    </p:spTree>
    <p:extLst>
      <p:ext uri="{BB962C8B-B14F-4D97-AF65-F5344CB8AC3E}">
        <p14:creationId xmlns:p14="http://schemas.microsoft.com/office/powerpoint/2010/main" val="115968499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7062420D-45C1-4BB4-80E2-85AA2168BDB7}"/>
              </a:ext>
            </a:extLst>
          </p:cNvPr>
          <p:cNvGraphicFramePr>
            <a:graphicFrameLocks noChangeAspect="1"/>
          </p:cNvGraphicFramePr>
          <p:nvPr>
            <p:custDataLst>
              <p:tags r:id="rId1"/>
            </p:custDataLst>
            <p:extLst>
              <p:ext uri="{D42A27DB-BD31-4B8C-83A1-F6EECF244321}">
                <p14:modId xmlns:p14="http://schemas.microsoft.com/office/powerpoint/2010/main" val="10913733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25" imgH="426" progId="TCLayout.ActiveDocument.1">
                  <p:embed/>
                </p:oleObj>
              </mc:Choice>
              <mc:Fallback>
                <p:oleObj name="think-cell Folie" r:id="rId4" imgW="425" imgH="426" progId="TCLayout.ActiveDocument.1">
                  <p:embed/>
                  <p:pic>
                    <p:nvPicPr>
                      <p:cNvPr id="7" name="Objekt 6" hidden="1">
                        <a:extLst>
                          <a:ext uri="{FF2B5EF4-FFF2-40B4-BE49-F238E27FC236}">
                            <a16:creationId xmlns:a16="http://schemas.microsoft.com/office/drawing/2014/main" id="{7062420D-45C1-4BB4-80E2-85AA2168BDB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88395490-5244-46CE-8656-58BB910011B6}"/>
              </a:ext>
            </a:extLst>
          </p:cNvPr>
          <p:cNvSpPr>
            <a:spLocks noGrp="1"/>
          </p:cNvSpPr>
          <p:nvPr>
            <p:ph type="title"/>
          </p:nvPr>
        </p:nvSpPr>
        <p:spPr>
          <a:xfrm>
            <a:off x="334963" y="333374"/>
            <a:ext cx="11520000" cy="540000"/>
          </a:xfrm>
        </p:spPr>
        <p:txBody>
          <a:bodyPr vert="horz"/>
          <a:lstStyle/>
          <a:p>
            <a:r>
              <a:rPr lang="de-DE" dirty="0"/>
              <a:t>Notwendige Gesamtergebnis der Restrukturierung aktuell in Abstimmung mit Controlling – Schätzwert bei ca. 9 Mio. €</a:t>
            </a:r>
          </a:p>
        </p:txBody>
      </p:sp>
      <p:sp>
        <p:nvSpPr>
          <p:cNvPr id="8" name="Rechteck 7">
            <a:extLst>
              <a:ext uri="{FF2B5EF4-FFF2-40B4-BE49-F238E27FC236}">
                <a16:creationId xmlns:a16="http://schemas.microsoft.com/office/drawing/2014/main" id="{29CCD52F-EA7C-440D-B54B-C821A7D20DD0}"/>
              </a:ext>
            </a:extLst>
          </p:cNvPr>
          <p:cNvSpPr/>
          <p:nvPr/>
        </p:nvSpPr>
        <p:spPr>
          <a:xfrm>
            <a:off x="10954961" y="69705"/>
            <a:ext cx="900000" cy="252000"/>
          </a:xfrm>
          <a:prstGeom prst="rect">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b="1" dirty="0"/>
              <a:t>Entwurf</a:t>
            </a:r>
          </a:p>
        </p:txBody>
      </p:sp>
      <p:sp>
        <p:nvSpPr>
          <p:cNvPr id="12" name="Textfeld 11">
            <a:extLst>
              <a:ext uri="{FF2B5EF4-FFF2-40B4-BE49-F238E27FC236}">
                <a16:creationId xmlns:a16="http://schemas.microsoft.com/office/drawing/2014/main" id="{2C4459AE-DBBE-408D-B846-FC1BB663C6CD}"/>
              </a:ext>
            </a:extLst>
          </p:cNvPr>
          <p:cNvSpPr txBox="1"/>
          <p:nvPr/>
        </p:nvSpPr>
        <p:spPr>
          <a:xfrm>
            <a:off x="334963" y="6421556"/>
            <a:ext cx="3860352" cy="338554"/>
          </a:xfrm>
          <a:prstGeom prst="rect">
            <a:avLst/>
          </a:prstGeom>
          <a:noFill/>
        </p:spPr>
        <p:txBody>
          <a:bodyPr wrap="none" rtlCol="0" anchor="b">
            <a:spAutoFit/>
          </a:bodyPr>
          <a:lstStyle/>
          <a:p>
            <a:r>
              <a:rPr lang="de-DE" sz="800" dirty="0"/>
              <a:t>1 | Absolute EBIT-Lücke in Abstimmung mit Controlling ABC GmbH in Vorbereitung</a:t>
            </a:r>
          </a:p>
          <a:p>
            <a:r>
              <a:rPr lang="de-DE" sz="800" dirty="0"/>
              <a:t>Quelle: Projektteam Phönix</a:t>
            </a:r>
          </a:p>
        </p:txBody>
      </p:sp>
      <p:graphicFrame>
        <p:nvGraphicFramePr>
          <p:cNvPr id="10" name="Tabelle 9">
            <a:extLst>
              <a:ext uri="{FF2B5EF4-FFF2-40B4-BE49-F238E27FC236}">
                <a16:creationId xmlns:a16="http://schemas.microsoft.com/office/drawing/2014/main" id="{30BD7477-C187-4A85-B3B6-B8FD799B6CAF}"/>
              </a:ext>
            </a:extLst>
          </p:cNvPr>
          <p:cNvGraphicFramePr>
            <a:graphicFrameLocks noGrp="1"/>
          </p:cNvGraphicFramePr>
          <p:nvPr>
            <p:custDataLst>
              <p:tags r:id="rId2"/>
            </p:custDataLst>
            <p:extLst>
              <p:ext uri="{D42A27DB-BD31-4B8C-83A1-F6EECF244321}">
                <p14:modId xmlns:p14="http://schemas.microsoft.com/office/powerpoint/2010/main" val="3810302340"/>
              </p:ext>
            </p:extLst>
          </p:nvPr>
        </p:nvGraphicFramePr>
        <p:xfrm>
          <a:off x="334963" y="1125538"/>
          <a:ext cx="11519998" cy="5264012"/>
        </p:xfrm>
        <a:graphic>
          <a:graphicData uri="http://schemas.openxmlformats.org/drawingml/2006/table">
            <a:tbl>
              <a:tblPr firstRow="1" bandRow="1">
                <a:effectLst/>
                <a:tableStyleId>{5C22544A-7EE6-4342-B048-85BDC9FD1C3A}</a:tableStyleId>
              </a:tblPr>
              <a:tblGrid>
                <a:gridCol w="1520961">
                  <a:extLst>
                    <a:ext uri="{9D8B030D-6E8A-4147-A177-3AD203B41FA5}">
                      <a16:colId xmlns:a16="http://schemas.microsoft.com/office/drawing/2014/main" val="20000"/>
                    </a:ext>
                  </a:extLst>
                </a:gridCol>
                <a:gridCol w="1586789">
                  <a:extLst>
                    <a:ext uri="{9D8B030D-6E8A-4147-A177-3AD203B41FA5}">
                      <a16:colId xmlns:a16="http://schemas.microsoft.com/office/drawing/2014/main" val="20001"/>
                    </a:ext>
                  </a:extLst>
                </a:gridCol>
                <a:gridCol w="2510218">
                  <a:extLst>
                    <a:ext uri="{9D8B030D-6E8A-4147-A177-3AD203B41FA5}">
                      <a16:colId xmlns:a16="http://schemas.microsoft.com/office/drawing/2014/main" val="20002"/>
                    </a:ext>
                  </a:extLst>
                </a:gridCol>
                <a:gridCol w="5902030">
                  <a:extLst>
                    <a:ext uri="{9D8B030D-6E8A-4147-A177-3AD203B41FA5}">
                      <a16:colId xmlns:a16="http://schemas.microsoft.com/office/drawing/2014/main" val="20003"/>
                    </a:ext>
                  </a:extLst>
                </a:gridCol>
              </a:tblGrid>
              <a:tr h="293353">
                <a:tc>
                  <a:txBody>
                    <a:bodyPr/>
                    <a:lstStyle/>
                    <a:p>
                      <a:pPr algn="ctr" eaLnBrk="1"/>
                      <a:r>
                        <a:rPr lang="de-DE" sz="1400" i="0" noProof="0" dirty="0">
                          <a:solidFill>
                            <a:schemeClr val="bg1"/>
                          </a:solidFill>
                        </a:rPr>
                        <a:t>Gesamtergebnis</a:t>
                      </a:r>
                    </a:p>
                  </a:txBody>
                  <a:tcPr marL="36000" marR="36000" marT="36000" marB="36000"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a:r>
                        <a:rPr lang="de-DE" sz="1400" i="0" noProof="0" dirty="0">
                          <a:solidFill>
                            <a:schemeClr val="bg1"/>
                          </a:solidFill>
                        </a:rPr>
                        <a:t>Teilprojekt</a:t>
                      </a:r>
                    </a:p>
                  </a:txBody>
                  <a:tcPr marL="36000" marR="36000" marT="36000" marB="36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a:r>
                        <a:rPr lang="de-DE" sz="1400" i="0" noProof="0" dirty="0">
                          <a:solidFill>
                            <a:schemeClr val="bg1"/>
                          </a:solidFill>
                        </a:rPr>
                        <a:t>Teilergebnis </a:t>
                      </a:r>
                    </a:p>
                  </a:txBody>
                  <a:tcPr marL="36000" marR="36000" marT="36000" marB="36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a:r>
                        <a:rPr lang="de-DE" sz="1400" i="0" noProof="0" dirty="0">
                          <a:solidFill>
                            <a:schemeClr val="bg1"/>
                          </a:solidFill>
                        </a:rPr>
                        <a:t>Wesentliche Maßnahmen</a:t>
                      </a:r>
                    </a:p>
                  </a:txBody>
                  <a:tcPr marL="36000" marR="36000" marT="36000" marB="36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10000"/>
                  </a:ext>
                </a:extLst>
              </a:tr>
              <a:tr h="1620062">
                <a:tc rowSpan="3">
                  <a:txBody>
                    <a:bodyPr/>
                    <a:lstStyle/>
                    <a:p>
                      <a:pPr algn="ctr">
                        <a:spcBef>
                          <a:spcPts val="0"/>
                        </a:spcBef>
                      </a:pPr>
                      <a:r>
                        <a:rPr lang="de-DE" sz="1200" b="1" noProof="0" dirty="0">
                          <a:solidFill>
                            <a:schemeClr val="tx1"/>
                          </a:solidFill>
                        </a:rPr>
                        <a:t>Ca. 9 Mio.</a:t>
                      </a:r>
                      <a:r>
                        <a:rPr lang="de-DE" sz="1200" b="1" baseline="30000" noProof="0" dirty="0">
                          <a:solidFill>
                            <a:schemeClr val="tx1"/>
                          </a:solidFill>
                        </a:rPr>
                        <a:t>1</a:t>
                      </a:r>
                      <a:r>
                        <a:rPr lang="de-DE" sz="1200" b="1" noProof="0" dirty="0">
                          <a:solidFill>
                            <a:schemeClr val="tx1"/>
                          </a:solidFill>
                        </a:rPr>
                        <a:t> an Restrukturierungs-maßnahmen bis zum 30.06.2022 umgesetzt</a:t>
                      </a: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lvl="1" indent="0" algn="ctr">
                        <a:spcBef>
                          <a:spcPts val="200"/>
                        </a:spcBef>
                        <a:buFont typeface="Arial" panose="020B0604020202020204" pitchFamily="34" charset="0"/>
                        <a:buNone/>
                      </a:pPr>
                      <a:r>
                        <a:rPr lang="de-DE" sz="1200" noProof="0" dirty="0">
                          <a:solidFill>
                            <a:schemeClr val="tx1"/>
                          </a:solidFill>
                        </a:rPr>
                        <a:t>PMO</a:t>
                      </a: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sz="1200" noProof="0" dirty="0">
                          <a:solidFill>
                            <a:schemeClr val="tx1"/>
                          </a:solidFill>
                        </a:rPr>
                        <a:t>EBIT-Lücke für TG ABC GmbH bis 15.07. definiert und auf Teilprojekte gemäß Schlüssel verteilt</a:t>
                      </a: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41288" lvl="1" indent="-141288">
                        <a:spcBef>
                          <a:spcPts val="200"/>
                        </a:spcBef>
                        <a:buFont typeface="Arial" panose="020B0604020202020204" pitchFamily="34" charset="0"/>
                        <a:buChar char="•"/>
                      </a:pPr>
                      <a:r>
                        <a:rPr lang="de-DE" sz="1200" noProof="0" dirty="0">
                          <a:solidFill>
                            <a:schemeClr val="tx1"/>
                          </a:solidFill>
                        </a:rPr>
                        <a:t>EBIT-Lücke mit Controlling der ABC GmbH definieren und abstimmen (C. Grohe)</a:t>
                      </a:r>
                    </a:p>
                    <a:p>
                      <a:pPr marL="141288" lvl="1" indent="-141288">
                        <a:spcBef>
                          <a:spcPts val="200"/>
                        </a:spcBef>
                        <a:buFont typeface="Arial" panose="020B0604020202020204" pitchFamily="34" charset="0"/>
                        <a:buChar char="•"/>
                      </a:pPr>
                      <a:r>
                        <a:rPr lang="de-DE" sz="1200" noProof="0" dirty="0">
                          <a:solidFill>
                            <a:schemeClr val="tx1"/>
                          </a:solidFill>
                        </a:rPr>
                        <a:t>Absolute EBIT-Lücke gemäß Umsatzschlüssel auf Teilprojekte bis 15.07.21 verteilen (C. Grohe)</a:t>
                      </a:r>
                    </a:p>
                    <a:p>
                      <a:pPr marL="141288" lvl="1" indent="-141288">
                        <a:spcBef>
                          <a:spcPts val="200"/>
                        </a:spcBef>
                        <a:buFont typeface="Arial" panose="020B0604020202020204" pitchFamily="34" charset="0"/>
                        <a:buChar char="•"/>
                      </a:pPr>
                      <a:r>
                        <a:rPr lang="de-DE" sz="1200" noProof="0" dirty="0">
                          <a:solidFill>
                            <a:schemeClr val="tx1"/>
                          </a:solidFill>
                        </a:rPr>
                        <a:t>Absolute EBIT-Lücke im Steuerkreis am 09.08.21 abnehmen lassen (R. Mayer)</a:t>
                      </a:r>
                    </a:p>
                    <a:p>
                      <a:pPr marL="141288" lvl="1" indent="-141288">
                        <a:spcBef>
                          <a:spcPts val="200"/>
                        </a:spcBef>
                        <a:buFont typeface="Arial" panose="020B0604020202020204" pitchFamily="34" charset="0"/>
                        <a:buChar char="•"/>
                      </a:pPr>
                      <a:r>
                        <a:rPr lang="de-DE" sz="1200" noProof="0" dirty="0">
                          <a:solidFill>
                            <a:schemeClr val="tx1"/>
                          </a:solidFill>
                        </a:rPr>
                        <a:t>…</a:t>
                      </a: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1"/>
                  </a:ext>
                </a:extLst>
              </a:tr>
              <a:tr h="1412638">
                <a:tc vMerge="1">
                  <a:txBody>
                    <a:bodyPr/>
                    <a:lstStyle/>
                    <a:p>
                      <a:endParaRPr lang="de-DE"/>
                    </a:p>
                  </a:txBody>
                  <a:tcPr/>
                </a:tc>
                <a:tc>
                  <a:txBody>
                    <a:bodyPr/>
                    <a:lstStyle/>
                    <a:p>
                      <a:pPr marL="0" lvl="1" indent="0" algn="ctr">
                        <a:spcBef>
                          <a:spcPts val="200"/>
                        </a:spcBef>
                        <a:buFont typeface="Arial" panose="020B0604020202020204" pitchFamily="34" charset="0"/>
                        <a:buNone/>
                      </a:pPr>
                      <a:r>
                        <a:rPr lang="de-DE" sz="1200" noProof="0" dirty="0">
                          <a:solidFill>
                            <a:schemeClr val="tx1"/>
                          </a:solidFill>
                        </a:rPr>
                        <a:t>TP 1: Filialnetz</a:t>
                      </a: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spcBef>
                          <a:spcPts val="0"/>
                        </a:spcBef>
                      </a:pPr>
                      <a:r>
                        <a:rPr lang="de-DE" sz="1200" b="0" noProof="0" dirty="0">
                          <a:solidFill>
                            <a:schemeClr val="tx1"/>
                          </a:solidFill>
                        </a:rPr>
                        <a:t>X Mio. an Restrukturierungsmaßnahmen im Filialnetz bis zum 30.06.2022 umgesetzt</a:t>
                      </a: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41288" lvl="1" indent="-141288">
                        <a:spcBef>
                          <a:spcPts val="200"/>
                        </a:spcBef>
                        <a:buFont typeface="Arial" panose="020B0604020202020204" pitchFamily="34" charset="0"/>
                        <a:buChar char="•"/>
                      </a:pPr>
                      <a:r>
                        <a:rPr lang="de-DE" sz="1200" noProof="0" dirty="0">
                          <a:solidFill>
                            <a:schemeClr val="tx1"/>
                          </a:solidFill>
                        </a:rPr>
                        <a:t>Analyse des Filialnetzes bis 31.07.21 durchführen (H. Wolters)</a:t>
                      </a:r>
                    </a:p>
                    <a:p>
                      <a:pPr marL="141288" lvl="1" indent="-141288">
                        <a:spcBef>
                          <a:spcPts val="200"/>
                        </a:spcBef>
                        <a:buFont typeface="Arial" panose="020B0604020202020204" pitchFamily="34" charset="0"/>
                        <a:buChar char="•"/>
                      </a:pPr>
                      <a:r>
                        <a:rPr lang="de-DE" sz="1200" noProof="0" dirty="0">
                          <a:solidFill>
                            <a:schemeClr val="tx1"/>
                          </a:solidFill>
                        </a:rPr>
                        <a:t>Restrukturierungs- und Effizienzmaßnahmen bis 07.10.21 definieren (H. Wolters)</a:t>
                      </a:r>
                    </a:p>
                    <a:p>
                      <a:pPr marL="141288" marR="0" lvl="1" indent="-141288" algn="l" defTabSz="914400" rtl="0" eaLnBrk="1" fontAlgn="auto" latinLnBrk="0" hangingPunct="1">
                        <a:lnSpc>
                          <a:spcPct val="100000"/>
                        </a:lnSpc>
                        <a:spcBef>
                          <a:spcPts val="200"/>
                        </a:spcBef>
                        <a:spcAft>
                          <a:spcPts val="0"/>
                        </a:spcAft>
                        <a:buClrTx/>
                        <a:buSzTx/>
                        <a:buFont typeface="Arial" panose="020B0604020202020204" pitchFamily="34" charset="0"/>
                        <a:buChar char="•"/>
                        <a:tabLst/>
                        <a:defRPr/>
                      </a:pPr>
                      <a:r>
                        <a:rPr lang="de-DE" sz="1200" noProof="0" dirty="0">
                          <a:solidFill>
                            <a:schemeClr val="tx1"/>
                          </a:solidFill>
                        </a:rPr>
                        <a:t>Restrukturierungs- und Effizienzmaßnahmen bis 07.12.21 abstimmen (M. Hinsch)</a:t>
                      </a:r>
                    </a:p>
                    <a:p>
                      <a:pPr marL="141288" marR="0" lvl="1" indent="-141288" algn="l" defTabSz="914400" rtl="0" eaLnBrk="1" fontAlgn="auto" latinLnBrk="0" hangingPunct="1">
                        <a:lnSpc>
                          <a:spcPct val="100000"/>
                        </a:lnSpc>
                        <a:spcBef>
                          <a:spcPts val="200"/>
                        </a:spcBef>
                        <a:spcAft>
                          <a:spcPts val="0"/>
                        </a:spcAft>
                        <a:buClrTx/>
                        <a:buSzTx/>
                        <a:buFont typeface="Arial" panose="020B0604020202020204" pitchFamily="34" charset="0"/>
                        <a:buChar char="•"/>
                        <a:tabLst/>
                        <a:defRPr/>
                      </a:pPr>
                      <a:r>
                        <a:rPr lang="de-DE" sz="1200" noProof="0" dirty="0">
                          <a:solidFill>
                            <a:schemeClr val="tx1"/>
                          </a:solidFill>
                        </a:rPr>
                        <a:t>Restrukturierungs- und Effizienzmaßnahmen bis 30.06.22 umsetzen (Fachbereiche)</a:t>
                      </a:r>
                    </a:p>
                    <a:p>
                      <a:pPr marL="141288" marR="0" lvl="1" indent="-141288" algn="l" defTabSz="914400" rtl="0" eaLnBrk="1" fontAlgn="auto" latinLnBrk="0" hangingPunct="1">
                        <a:lnSpc>
                          <a:spcPct val="100000"/>
                        </a:lnSpc>
                        <a:spcBef>
                          <a:spcPts val="200"/>
                        </a:spcBef>
                        <a:spcAft>
                          <a:spcPts val="0"/>
                        </a:spcAft>
                        <a:buClrTx/>
                        <a:buSzTx/>
                        <a:buFont typeface="Arial" panose="020B0604020202020204" pitchFamily="34" charset="0"/>
                        <a:buChar char="•"/>
                        <a:tabLst/>
                        <a:defRPr/>
                      </a:pPr>
                      <a:r>
                        <a:rPr lang="de-DE" sz="1200" noProof="0" dirty="0">
                          <a:solidFill>
                            <a:schemeClr val="tx1"/>
                          </a:solidFill>
                        </a:rPr>
                        <a:t>…</a:t>
                      </a: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890054652"/>
                  </a:ext>
                </a:extLst>
              </a:tr>
              <a:tr h="1412638">
                <a:tc vMerge="1">
                  <a:txBody>
                    <a:bodyPr/>
                    <a:lstStyle/>
                    <a:p>
                      <a:pPr>
                        <a:spcBef>
                          <a:spcPts val="0"/>
                        </a:spcBef>
                      </a:pPr>
                      <a:endParaRPr lang="en-US" sz="1400" b="1" noProof="0" dirty="0">
                        <a:solidFill>
                          <a:schemeClr val="tx1"/>
                        </a:solidFill>
                      </a:endParaRPr>
                    </a:p>
                  </a:txBody>
                  <a:tcPr marL="0" marR="54000" marT="72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lvl="1" indent="0" algn="ctr">
                        <a:spcBef>
                          <a:spcPts val="200"/>
                        </a:spcBef>
                        <a:buFont typeface="Arial" panose="020B0604020202020204" pitchFamily="34" charset="0"/>
                        <a:buNone/>
                      </a:pPr>
                      <a:r>
                        <a:rPr lang="de-DE" sz="1200" noProof="0" dirty="0">
                          <a:solidFill>
                            <a:schemeClr val="tx1"/>
                          </a:solidFill>
                        </a:rPr>
                        <a:t>TP 2: E-Commerce</a:t>
                      </a: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2"/>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spcBef>
                          <a:spcPts val="0"/>
                        </a:spcBef>
                      </a:pPr>
                      <a:r>
                        <a:rPr lang="de-DE" sz="1200" b="0" noProof="0" dirty="0">
                          <a:solidFill>
                            <a:schemeClr val="tx1"/>
                          </a:solidFill>
                        </a:rPr>
                        <a:t>X Mio. an Restrukturierungsmaßnahmen im E-Commerce bis zum 30.06.2022 umgesetzt</a:t>
                      </a: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2"/>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41288" lvl="1" indent="-141288">
                        <a:spcBef>
                          <a:spcPts val="200"/>
                        </a:spcBef>
                        <a:buFont typeface="Arial" panose="020B0604020202020204" pitchFamily="34" charset="0"/>
                        <a:buChar char="•"/>
                      </a:pPr>
                      <a:r>
                        <a:rPr lang="de-DE" sz="1200" noProof="0" dirty="0">
                          <a:solidFill>
                            <a:schemeClr val="tx1"/>
                          </a:solidFill>
                        </a:rPr>
                        <a:t>Analyse des E-Commerce bis 31.07.21 durchführen (T. Horn)</a:t>
                      </a:r>
                    </a:p>
                    <a:p>
                      <a:pPr marL="141288" lvl="1" indent="-141288">
                        <a:spcBef>
                          <a:spcPts val="200"/>
                        </a:spcBef>
                        <a:buFont typeface="Arial" panose="020B0604020202020204" pitchFamily="34" charset="0"/>
                        <a:buChar char="•"/>
                      </a:pPr>
                      <a:r>
                        <a:rPr lang="de-DE" sz="1200" noProof="0" dirty="0">
                          <a:solidFill>
                            <a:schemeClr val="tx1"/>
                          </a:solidFill>
                        </a:rPr>
                        <a:t>Restrukturierungs- und Effizienzmaßnahmen bis 07.10.21 definieren (T. Horn)</a:t>
                      </a:r>
                    </a:p>
                    <a:p>
                      <a:pPr marL="141288" marR="0" lvl="1" indent="-141288" algn="l" defTabSz="914400" rtl="0" eaLnBrk="1" fontAlgn="auto" latinLnBrk="0" hangingPunct="1">
                        <a:lnSpc>
                          <a:spcPct val="100000"/>
                        </a:lnSpc>
                        <a:spcBef>
                          <a:spcPts val="200"/>
                        </a:spcBef>
                        <a:spcAft>
                          <a:spcPts val="0"/>
                        </a:spcAft>
                        <a:buClrTx/>
                        <a:buSzTx/>
                        <a:buFont typeface="Arial" panose="020B0604020202020204" pitchFamily="34" charset="0"/>
                        <a:buChar char="•"/>
                        <a:tabLst/>
                        <a:defRPr/>
                      </a:pPr>
                      <a:r>
                        <a:rPr lang="de-DE" sz="1200" noProof="0" dirty="0">
                          <a:solidFill>
                            <a:schemeClr val="tx1"/>
                          </a:solidFill>
                        </a:rPr>
                        <a:t>Restrukturierungs- und Effizienzmaßnahmen bis 07.12.21 abstimmen (A. Schmid)</a:t>
                      </a:r>
                    </a:p>
                    <a:p>
                      <a:pPr marL="141288" marR="0" lvl="1" indent="-141288" algn="l" defTabSz="914400" rtl="0" eaLnBrk="1" fontAlgn="auto" latinLnBrk="0" hangingPunct="1">
                        <a:lnSpc>
                          <a:spcPct val="100000"/>
                        </a:lnSpc>
                        <a:spcBef>
                          <a:spcPts val="200"/>
                        </a:spcBef>
                        <a:spcAft>
                          <a:spcPts val="0"/>
                        </a:spcAft>
                        <a:buClrTx/>
                        <a:buSzTx/>
                        <a:buFont typeface="Arial" panose="020B0604020202020204" pitchFamily="34" charset="0"/>
                        <a:buChar char="•"/>
                        <a:tabLst/>
                        <a:defRPr/>
                      </a:pPr>
                      <a:r>
                        <a:rPr lang="de-DE" sz="1200" noProof="0" dirty="0">
                          <a:solidFill>
                            <a:schemeClr val="tx1"/>
                          </a:solidFill>
                        </a:rPr>
                        <a:t>Restrukturierungs- und Effizienzmaßnahmen bis 30.06.22 umsetzen (Fachbereiche)</a:t>
                      </a:r>
                    </a:p>
                    <a:p>
                      <a:pPr marL="141288" marR="0" lvl="1" indent="-141288" algn="l" defTabSz="914400" rtl="0" eaLnBrk="1" fontAlgn="auto" latinLnBrk="0" hangingPunct="1">
                        <a:lnSpc>
                          <a:spcPct val="100000"/>
                        </a:lnSpc>
                        <a:spcBef>
                          <a:spcPts val="200"/>
                        </a:spcBef>
                        <a:spcAft>
                          <a:spcPts val="0"/>
                        </a:spcAft>
                        <a:buClrTx/>
                        <a:buSzTx/>
                        <a:buFont typeface="Arial" panose="020B0604020202020204" pitchFamily="34" charset="0"/>
                        <a:buChar char="•"/>
                        <a:tabLst/>
                        <a:defRPr/>
                      </a:pPr>
                      <a:r>
                        <a:rPr lang="de-DE" sz="1200" noProof="0" dirty="0">
                          <a:solidFill>
                            <a:schemeClr val="tx1"/>
                          </a:solidFill>
                        </a:rPr>
                        <a:t>…</a:t>
                      </a: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2"/>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63726347"/>
                  </a:ext>
                </a:extLst>
              </a:tr>
              <a:tr h="525321">
                <a:tc>
                  <a:txBody>
                    <a:bodyPr/>
                    <a:lstStyle/>
                    <a:p>
                      <a:pPr algn="ctr">
                        <a:spcBef>
                          <a:spcPts val="0"/>
                        </a:spcBef>
                      </a:pPr>
                      <a:r>
                        <a:rPr lang="de-DE" sz="1200" b="1" noProof="0" dirty="0">
                          <a:solidFill>
                            <a:schemeClr val="tx1"/>
                          </a:solidFill>
                        </a:rPr>
                        <a:t>Nicht im Projektumfang</a:t>
                      </a: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2"/>
                    </a:solidFill>
                  </a:tcPr>
                </a:tc>
                <a:tc gridSpan="3">
                  <a:txBody>
                    <a:bodyPr/>
                    <a:lstStyle/>
                    <a:p>
                      <a:pPr marL="171450" lvl="1" indent="-171450" algn="l">
                        <a:spcBef>
                          <a:spcPts val="200"/>
                        </a:spcBef>
                        <a:buFont typeface="Arial" panose="020B0604020202020204" pitchFamily="34" charset="0"/>
                        <a:buChar char="•"/>
                      </a:pPr>
                      <a:r>
                        <a:rPr lang="de-DE" sz="1200" noProof="0" dirty="0">
                          <a:solidFill>
                            <a:schemeClr val="tx1"/>
                          </a:solidFill>
                        </a:rPr>
                        <a:t>Abteilungen: Operations</a:t>
                      </a:r>
                    </a:p>
                    <a:p>
                      <a:pPr marL="171450" lvl="1" indent="-171450" algn="l">
                        <a:spcBef>
                          <a:spcPts val="200"/>
                        </a:spcBef>
                        <a:buFont typeface="Arial" panose="020B0604020202020204" pitchFamily="34" charset="0"/>
                        <a:buChar char="•"/>
                      </a:pPr>
                      <a:r>
                        <a:rPr lang="de-DE" sz="1200" noProof="0" dirty="0">
                          <a:solidFill>
                            <a:schemeClr val="tx1"/>
                          </a:solidFill>
                        </a:rPr>
                        <a:t>Overhead-Funktionen (HR, Marketing)</a:t>
                      </a: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marL="141288" lvl="1" indent="-141288">
                        <a:spcBef>
                          <a:spcPts val="200"/>
                        </a:spcBef>
                        <a:buFont typeface="Arial" panose="020B0604020202020204" pitchFamily="34" charset="0"/>
                        <a:buChar char="•"/>
                      </a:pPr>
                      <a:endParaRPr lang="de-DE" sz="1200" noProof="0" dirty="0">
                        <a:solidFill>
                          <a:schemeClr val="tx1"/>
                        </a:solidFill>
                      </a:endParaRP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marL="141288" lvl="1" indent="-141288">
                        <a:spcBef>
                          <a:spcPts val="200"/>
                        </a:spcBef>
                        <a:buFont typeface="Arial" panose="020B0604020202020204" pitchFamily="34" charset="0"/>
                        <a:buChar char="•"/>
                      </a:pPr>
                      <a:endParaRPr lang="de-DE" sz="1200" noProof="0" dirty="0">
                        <a:solidFill>
                          <a:schemeClr val="tx1"/>
                        </a:solidFill>
                      </a:endParaRP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820944074"/>
                  </a:ext>
                </a:extLst>
              </a:tr>
            </a:tbl>
          </a:graphicData>
        </a:graphic>
      </p:graphicFrame>
    </p:spTree>
    <p:extLst>
      <p:ext uri="{BB962C8B-B14F-4D97-AF65-F5344CB8AC3E}">
        <p14:creationId xmlns:p14="http://schemas.microsoft.com/office/powerpoint/2010/main" val="244363053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kt 10" hidden="1">
            <a:extLst>
              <a:ext uri="{FF2B5EF4-FFF2-40B4-BE49-F238E27FC236}">
                <a16:creationId xmlns:a16="http://schemas.microsoft.com/office/drawing/2014/main" id="{EFB91133-0E2F-48F6-A178-B17E2BEC5EAB}"/>
              </a:ext>
            </a:extLst>
          </p:cNvPr>
          <p:cNvGraphicFramePr>
            <a:graphicFrameLocks noChangeAspect="1"/>
          </p:cNvGraphicFramePr>
          <p:nvPr>
            <p:custDataLst>
              <p:tags r:id="rId1"/>
            </p:custDataLst>
            <p:extLst>
              <p:ext uri="{D42A27DB-BD31-4B8C-83A1-F6EECF244321}">
                <p14:modId xmlns:p14="http://schemas.microsoft.com/office/powerpoint/2010/main" val="3985851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6" progId="TCLayout.ActiveDocument.1">
                  <p:embed/>
                </p:oleObj>
              </mc:Choice>
              <mc:Fallback>
                <p:oleObj name="think-cell Folie" r:id="rId3" imgW="425" imgH="426" progId="TCLayout.ActiveDocument.1">
                  <p:embed/>
                  <p:pic>
                    <p:nvPicPr>
                      <p:cNvPr id="11" name="Objekt 10" hidden="1">
                        <a:extLst>
                          <a:ext uri="{FF2B5EF4-FFF2-40B4-BE49-F238E27FC236}">
                            <a16:creationId xmlns:a16="http://schemas.microsoft.com/office/drawing/2014/main" id="{EFB91133-0E2F-48F6-A178-B17E2BEC5EA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2C72BAFB-38D4-4258-BA15-1CFBBCCB4463}"/>
              </a:ext>
            </a:extLst>
          </p:cNvPr>
          <p:cNvSpPr>
            <a:spLocks noGrp="1"/>
          </p:cNvSpPr>
          <p:nvPr>
            <p:ph type="title"/>
          </p:nvPr>
        </p:nvSpPr>
        <p:spPr>
          <a:xfrm>
            <a:off x="334963" y="333374"/>
            <a:ext cx="11520000" cy="540000"/>
          </a:xfrm>
        </p:spPr>
        <p:txBody>
          <a:bodyPr vert="horz"/>
          <a:lstStyle/>
          <a:p>
            <a:r>
              <a:rPr lang="de-DE" dirty="0"/>
              <a:t>Projektsteckbrief – Projekt Phönix</a:t>
            </a:r>
            <a:br>
              <a:rPr lang="de-DE" dirty="0"/>
            </a:br>
            <a:r>
              <a:rPr lang="de-DE" dirty="0"/>
              <a:t>Teilprojekt 1: Filialnetz </a:t>
            </a:r>
          </a:p>
        </p:txBody>
      </p:sp>
      <p:sp>
        <p:nvSpPr>
          <p:cNvPr id="7" name="Rechteck 6">
            <a:extLst>
              <a:ext uri="{FF2B5EF4-FFF2-40B4-BE49-F238E27FC236}">
                <a16:creationId xmlns:a16="http://schemas.microsoft.com/office/drawing/2014/main" id="{F6C60381-D117-4A68-BD49-F0A5C1C11865}"/>
              </a:ext>
            </a:extLst>
          </p:cNvPr>
          <p:cNvSpPr/>
          <p:nvPr/>
        </p:nvSpPr>
        <p:spPr>
          <a:xfrm>
            <a:off x="10954961" y="69705"/>
            <a:ext cx="900000" cy="252000"/>
          </a:xfrm>
          <a:prstGeom prst="rect">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b="1" dirty="0"/>
              <a:t>Entwurf</a:t>
            </a:r>
          </a:p>
        </p:txBody>
      </p:sp>
      <p:sp>
        <p:nvSpPr>
          <p:cNvPr id="9" name="Textfeld 8">
            <a:extLst>
              <a:ext uri="{FF2B5EF4-FFF2-40B4-BE49-F238E27FC236}">
                <a16:creationId xmlns:a16="http://schemas.microsoft.com/office/drawing/2014/main" id="{F7EE9892-A066-463D-9916-4B2E2F11CBA4}"/>
              </a:ext>
            </a:extLst>
          </p:cNvPr>
          <p:cNvSpPr txBox="1"/>
          <p:nvPr/>
        </p:nvSpPr>
        <p:spPr>
          <a:xfrm>
            <a:off x="334963" y="6544666"/>
            <a:ext cx="1380506" cy="215444"/>
          </a:xfrm>
          <a:prstGeom prst="rect">
            <a:avLst/>
          </a:prstGeom>
          <a:noFill/>
        </p:spPr>
        <p:txBody>
          <a:bodyPr wrap="none" rtlCol="0" anchor="b">
            <a:spAutoFit/>
          </a:bodyPr>
          <a:lstStyle/>
          <a:p>
            <a:r>
              <a:rPr lang="de-DE" sz="800" dirty="0"/>
              <a:t>Quelle: Projektteam Phönix</a:t>
            </a:r>
          </a:p>
        </p:txBody>
      </p:sp>
      <p:graphicFrame>
        <p:nvGraphicFramePr>
          <p:cNvPr id="17" name="Tabelle 17">
            <a:extLst>
              <a:ext uri="{FF2B5EF4-FFF2-40B4-BE49-F238E27FC236}">
                <a16:creationId xmlns:a16="http://schemas.microsoft.com/office/drawing/2014/main" id="{108CAAAE-AEFF-4557-838E-FBFE835E2720}"/>
              </a:ext>
            </a:extLst>
          </p:cNvPr>
          <p:cNvGraphicFramePr>
            <a:graphicFrameLocks noGrp="1"/>
          </p:cNvGraphicFramePr>
          <p:nvPr>
            <p:extLst>
              <p:ext uri="{D42A27DB-BD31-4B8C-83A1-F6EECF244321}">
                <p14:modId xmlns:p14="http://schemas.microsoft.com/office/powerpoint/2010/main" val="3352417247"/>
              </p:ext>
            </p:extLst>
          </p:nvPr>
        </p:nvGraphicFramePr>
        <p:xfrm>
          <a:off x="334962" y="1279503"/>
          <a:ext cx="11519998" cy="576000"/>
        </p:xfrm>
        <a:graphic>
          <a:graphicData uri="http://schemas.openxmlformats.org/drawingml/2006/table">
            <a:tbl>
              <a:tblPr firstRow="1" bandRow="1">
                <a:tableStyleId>{073A0DAA-6AF3-43AB-8588-CEC1D06C72B9}</a:tableStyleId>
              </a:tblPr>
              <a:tblGrid>
                <a:gridCol w="2757281">
                  <a:extLst>
                    <a:ext uri="{9D8B030D-6E8A-4147-A177-3AD203B41FA5}">
                      <a16:colId xmlns:a16="http://schemas.microsoft.com/office/drawing/2014/main" val="106561458"/>
                    </a:ext>
                  </a:extLst>
                </a:gridCol>
                <a:gridCol w="2177241">
                  <a:extLst>
                    <a:ext uri="{9D8B030D-6E8A-4147-A177-3AD203B41FA5}">
                      <a16:colId xmlns:a16="http://schemas.microsoft.com/office/drawing/2014/main" val="2968576537"/>
                    </a:ext>
                  </a:extLst>
                </a:gridCol>
                <a:gridCol w="1646369">
                  <a:extLst>
                    <a:ext uri="{9D8B030D-6E8A-4147-A177-3AD203B41FA5}">
                      <a16:colId xmlns:a16="http://schemas.microsoft.com/office/drawing/2014/main" val="3486516205"/>
                    </a:ext>
                  </a:extLst>
                </a:gridCol>
                <a:gridCol w="1646369">
                  <a:extLst>
                    <a:ext uri="{9D8B030D-6E8A-4147-A177-3AD203B41FA5}">
                      <a16:colId xmlns:a16="http://schemas.microsoft.com/office/drawing/2014/main" val="241625440"/>
                    </a:ext>
                  </a:extLst>
                </a:gridCol>
                <a:gridCol w="1646369">
                  <a:extLst>
                    <a:ext uri="{9D8B030D-6E8A-4147-A177-3AD203B41FA5}">
                      <a16:colId xmlns:a16="http://schemas.microsoft.com/office/drawing/2014/main" val="1332069963"/>
                    </a:ext>
                  </a:extLst>
                </a:gridCol>
                <a:gridCol w="1646369">
                  <a:extLst>
                    <a:ext uri="{9D8B030D-6E8A-4147-A177-3AD203B41FA5}">
                      <a16:colId xmlns:a16="http://schemas.microsoft.com/office/drawing/2014/main" val="824478764"/>
                    </a:ext>
                  </a:extLst>
                </a:gridCol>
              </a:tblGrid>
              <a:tr h="288000">
                <a:tc>
                  <a:txBody>
                    <a:bodyPr/>
                    <a:lstStyle/>
                    <a:p>
                      <a:r>
                        <a:rPr lang="de-DE" sz="1200" dirty="0">
                          <a:solidFill>
                            <a:schemeClr val="bg1"/>
                          </a:solidFill>
                        </a:rPr>
                        <a:t>Teilprojekt</a:t>
                      </a:r>
                    </a:p>
                  </a:txBody>
                  <a:tcPr marL="36000" marR="36000" marT="36000" marB="36000">
                    <a:lnB w="12700" cap="flat" cmpd="sng" algn="ctr">
                      <a:solidFill>
                        <a:schemeClr val="bg1"/>
                      </a:solidFill>
                      <a:prstDash val="solid"/>
                      <a:round/>
                      <a:headEnd type="none" w="med" len="med"/>
                      <a:tailEnd type="none" w="med" len="med"/>
                    </a:lnB>
                    <a:solidFill>
                      <a:schemeClr val="tx2"/>
                    </a:solidFill>
                  </a:tcPr>
                </a:tc>
                <a:tc>
                  <a:txBody>
                    <a:bodyPr/>
                    <a:lstStyle/>
                    <a:p>
                      <a:r>
                        <a:rPr lang="de-DE" sz="1200" dirty="0">
                          <a:solidFill>
                            <a:schemeClr val="bg1"/>
                          </a:solidFill>
                        </a:rPr>
                        <a:t>Verantwortlich</a:t>
                      </a:r>
                    </a:p>
                  </a:txBody>
                  <a:tcPr marL="36000" marR="36000" marT="36000" marB="36000">
                    <a:lnB w="12700" cap="flat" cmpd="sng" algn="ctr">
                      <a:solidFill>
                        <a:schemeClr val="bg1"/>
                      </a:solidFill>
                      <a:prstDash val="solid"/>
                      <a:round/>
                      <a:headEnd type="none" w="med" len="med"/>
                      <a:tailEnd type="none" w="med" len="med"/>
                    </a:lnB>
                    <a:solidFill>
                      <a:schemeClr val="tx2"/>
                    </a:solidFill>
                  </a:tcPr>
                </a:tc>
                <a:tc>
                  <a:txBody>
                    <a:bodyPr/>
                    <a:lstStyle/>
                    <a:p>
                      <a:r>
                        <a:rPr lang="de-DE" sz="1200" dirty="0">
                          <a:solidFill>
                            <a:schemeClr val="bg1"/>
                          </a:solidFill>
                        </a:rPr>
                        <a:t>Starttermin</a:t>
                      </a:r>
                    </a:p>
                  </a:txBody>
                  <a:tcPr marL="36000" marR="36000" marT="36000" marB="36000">
                    <a:lnB w="12700" cap="flat" cmpd="sng" algn="ctr">
                      <a:solidFill>
                        <a:schemeClr val="bg1"/>
                      </a:solidFill>
                      <a:prstDash val="solid"/>
                      <a:round/>
                      <a:headEnd type="none" w="med" len="med"/>
                      <a:tailEnd type="none" w="med" len="med"/>
                    </a:lnB>
                    <a:solidFill>
                      <a:schemeClr val="tx2"/>
                    </a:solidFill>
                  </a:tcPr>
                </a:tc>
                <a:tc>
                  <a:txBody>
                    <a:bodyPr/>
                    <a:lstStyle/>
                    <a:p>
                      <a:r>
                        <a:rPr lang="de-DE" sz="1200" dirty="0">
                          <a:solidFill>
                            <a:schemeClr val="bg1"/>
                          </a:solidFill>
                        </a:rPr>
                        <a:t>Endtermin</a:t>
                      </a:r>
                    </a:p>
                  </a:txBody>
                  <a:tcPr marL="36000" marR="36000" marT="36000" marB="36000">
                    <a:lnB w="12700" cap="flat" cmpd="sng" algn="ctr">
                      <a:solidFill>
                        <a:schemeClr val="bg1"/>
                      </a:solidFill>
                      <a:prstDash val="solid"/>
                      <a:round/>
                      <a:headEnd type="none" w="med" len="med"/>
                      <a:tailEnd type="none" w="med" len="med"/>
                    </a:lnB>
                    <a:solidFill>
                      <a:schemeClr val="tx2"/>
                    </a:solidFill>
                  </a:tcPr>
                </a:tc>
                <a:tc>
                  <a:txBody>
                    <a:bodyPr/>
                    <a:lstStyle/>
                    <a:p>
                      <a:r>
                        <a:rPr lang="de-DE" sz="1200" dirty="0">
                          <a:solidFill>
                            <a:schemeClr val="bg1"/>
                          </a:solidFill>
                        </a:rPr>
                        <a:t>Benötigtes Budget</a:t>
                      </a:r>
                    </a:p>
                  </a:txBody>
                  <a:tcPr marL="36000" marR="36000" marT="36000" marB="36000">
                    <a:lnB w="12700" cap="flat" cmpd="sng" algn="ctr">
                      <a:solidFill>
                        <a:schemeClr val="bg1"/>
                      </a:solidFill>
                      <a:prstDash val="solid"/>
                      <a:round/>
                      <a:headEnd type="none" w="med" len="med"/>
                      <a:tailEnd type="none" w="med" len="med"/>
                    </a:lnB>
                    <a:solidFill>
                      <a:schemeClr val="tx2"/>
                    </a:solidFill>
                  </a:tcPr>
                </a:tc>
                <a:tc>
                  <a:txBody>
                    <a:bodyPr/>
                    <a:lstStyle/>
                    <a:p>
                      <a:r>
                        <a:rPr lang="de-DE" sz="1200" dirty="0">
                          <a:solidFill>
                            <a:schemeClr val="bg1"/>
                          </a:solidFill>
                        </a:rPr>
                        <a:t>Benötigte Mitarbeiter</a:t>
                      </a:r>
                    </a:p>
                  </a:txBody>
                  <a:tcPr marL="36000" marR="36000" marT="36000" marB="36000">
                    <a:lnB w="12700" cap="flat" cmpd="sng" algn="ctr">
                      <a:solidFill>
                        <a:schemeClr val="bg1"/>
                      </a:solidFill>
                      <a:prstDash val="solid"/>
                      <a:round/>
                      <a:headEnd type="none" w="med" len="med"/>
                      <a:tailEnd type="none" w="med" len="med"/>
                    </a:lnB>
                    <a:solidFill>
                      <a:schemeClr val="tx2"/>
                    </a:solidFill>
                  </a:tcPr>
                </a:tc>
                <a:extLst>
                  <a:ext uri="{0D108BD9-81ED-4DB2-BD59-A6C34878D82A}">
                    <a16:rowId xmlns:a16="http://schemas.microsoft.com/office/drawing/2014/main" val="2300150499"/>
                  </a:ext>
                </a:extLst>
              </a:tr>
              <a:tr h="288000">
                <a:tc>
                  <a:txBody>
                    <a:bodyPr/>
                    <a:lstStyle/>
                    <a:p>
                      <a:r>
                        <a:rPr lang="de-DE" sz="1200" dirty="0"/>
                        <a:t>Filialnetz</a:t>
                      </a:r>
                    </a:p>
                  </a:txBody>
                  <a:tcPr marL="36000" marR="36000" marT="36000" marB="36000">
                    <a:lnT w="12700" cap="flat" cmpd="sng" algn="ctr">
                      <a:solidFill>
                        <a:schemeClr val="bg1"/>
                      </a:solidFill>
                      <a:prstDash val="solid"/>
                      <a:round/>
                      <a:headEnd type="none" w="med" len="med"/>
                      <a:tailEnd type="none" w="med" len="med"/>
                    </a:lnT>
                    <a:noFill/>
                  </a:tcPr>
                </a:tc>
                <a:tc>
                  <a:txBody>
                    <a:bodyPr/>
                    <a:lstStyle/>
                    <a:p>
                      <a:r>
                        <a:rPr lang="de-DE" sz="1200" dirty="0"/>
                        <a:t>Name (OE)</a:t>
                      </a:r>
                    </a:p>
                  </a:txBody>
                  <a:tcPr marL="36000" marR="36000" marT="36000" marB="36000">
                    <a:lnT w="12700" cap="flat" cmpd="sng" algn="ctr">
                      <a:solidFill>
                        <a:schemeClr val="bg1"/>
                      </a:solidFill>
                      <a:prstDash val="solid"/>
                      <a:round/>
                      <a:headEnd type="none" w="med" len="med"/>
                      <a:tailEnd type="none" w="med" len="med"/>
                    </a:lnT>
                    <a:noFill/>
                  </a:tcPr>
                </a:tc>
                <a:tc>
                  <a:txBody>
                    <a:bodyPr/>
                    <a:lstStyle/>
                    <a:p>
                      <a:r>
                        <a:rPr lang="de-DE" sz="1200" dirty="0"/>
                        <a:t>tt.mm.jjjj</a:t>
                      </a:r>
                    </a:p>
                  </a:txBody>
                  <a:tcPr marL="36000" marR="36000" marT="36000" marB="36000">
                    <a:lnT w="12700" cap="flat" cmpd="sng" algn="ctr">
                      <a:solidFill>
                        <a:schemeClr val="bg1"/>
                      </a:solidFill>
                      <a:prstDash val="solid"/>
                      <a:round/>
                      <a:headEnd type="none" w="med" len="med"/>
                      <a:tailEnd type="none" w="med" len="med"/>
                    </a:lnT>
                    <a:noFill/>
                  </a:tcPr>
                </a:tc>
                <a:tc>
                  <a:txBody>
                    <a:bodyPr/>
                    <a:lstStyle/>
                    <a:p>
                      <a:r>
                        <a:rPr lang="de-DE" sz="1200" dirty="0"/>
                        <a:t>tt.mm.jjjj</a:t>
                      </a:r>
                    </a:p>
                  </a:txBody>
                  <a:tcPr marL="36000" marR="36000" marT="36000" marB="36000">
                    <a:lnT w="12700" cap="flat" cmpd="sng" algn="ctr">
                      <a:solidFill>
                        <a:schemeClr val="bg1"/>
                      </a:solidFill>
                      <a:prstDash val="solid"/>
                      <a:round/>
                      <a:headEnd type="none" w="med" len="med"/>
                      <a:tailEnd type="none" w="med" len="med"/>
                    </a:lnT>
                    <a:noFill/>
                  </a:tcPr>
                </a:tc>
                <a:tc>
                  <a:txBody>
                    <a:bodyPr/>
                    <a:lstStyle/>
                    <a:p>
                      <a:r>
                        <a:rPr lang="de-DE" sz="1200" dirty="0"/>
                        <a:t>x,x Mio. €</a:t>
                      </a:r>
                    </a:p>
                  </a:txBody>
                  <a:tcPr marL="36000" marR="36000" marT="36000" marB="36000">
                    <a:lnT w="12700" cap="flat" cmpd="sng" algn="ctr">
                      <a:solidFill>
                        <a:schemeClr val="bg1"/>
                      </a:solidFill>
                      <a:prstDash val="solid"/>
                      <a:round/>
                      <a:headEnd type="none" w="med" len="med"/>
                      <a:tailEnd type="none" w="med" len="med"/>
                    </a:lnT>
                    <a:noFill/>
                  </a:tcPr>
                </a:tc>
                <a:tc>
                  <a:txBody>
                    <a:bodyPr/>
                    <a:lstStyle/>
                    <a:p>
                      <a:r>
                        <a:rPr lang="de-DE" sz="1200" dirty="0"/>
                        <a:t>X FTE</a:t>
                      </a:r>
                    </a:p>
                  </a:txBody>
                  <a:tcPr marL="36000" marR="36000" marT="36000" marB="36000">
                    <a:lnT w="12700" cap="flat" cmpd="sng" algn="ctr">
                      <a:solidFill>
                        <a:schemeClr val="bg1"/>
                      </a:solidFill>
                      <a:prstDash val="solid"/>
                      <a:round/>
                      <a:headEnd type="none" w="med" len="med"/>
                      <a:tailEnd type="none" w="med" len="med"/>
                    </a:lnT>
                    <a:noFill/>
                  </a:tcPr>
                </a:tc>
                <a:extLst>
                  <a:ext uri="{0D108BD9-81ED-4DB2-BD59-A6C34878D82A}">
                    <a16:rowId xmlns:a16="http://schemas.microsoft.com/office/drawing/2014/main" val="2556466482"/>
                  </a:ext>
                </a:extLst>
              </a:tr>
            </a:tbl>
          </a:graphicData>
        </a:graphic>
      </p:graphicFrame>
      <p:graphicFrame>
        <p:nvGraphicFramePr>
          <p:cNvPr id="18" name="Tabelle 17">
            <a:extLst>
              <a:ext uri="{FF2B5EF4-FFF2-40B4-BE49-F238E27FC236}">
                <a16:creationId xmlns:a16="http://schemas.microsoft.com/office/drawing/2014/main" id="{C77FFABE-F12D-452A-9423-866D1C5FAFBA}"/>
              </a:ext>
            </a:extLst>
          </p:cNvPr>
          <p:cNvGraphicFramePr>
            <a:graphicFrameLocks noGrp="1"/>
          </p:cNvGraphicFramePr>
          <p:nvPr>
            <p:extLst>
              <p:ext uri="{D42A27DB-BD31-4B8C-83A1-F6EECF244321}">
                <p14:modId xmlns:p14="http://schemas.microsoft.com/office/powerpoint/2010/main" val="401227378"/>
              </p:ext>
            </p:extLst>
          </p:nvPr>
        </p:nvGraphicFramePr>
        <p:xfrm>
          <a:off x="334962" y="1902158"/>
          <a:ext cx="11519998" cy="1008000"/>
        </p:xfrm>
        <a:graphic>
          <a:graphicData uri="http://schemas.openxmlformats.org/drawingml/2006/table">
            <a:tbl>
              <a:tblPr firstRow="1" bandRow="1">
                <a:tableStyleId>{073A0DAA-6AF3-43AB-8588-CEC1D06C72B9}</a:tableStyleId>
              </a:tblPr>
              <a:tblGrid>
                <a:gridCol w="5759999">
                  <a:extLst>
                    <a:ext uri="{9D8B030D-6E8A-4147-A177-3AD203B41FA5}">
                      <a16:colId xmlns:a16="http://schemas.microsoft.com/office/drawing/2014/main" val="106561458"/>
                    </a:ext>
                  </a:extLst>
                </a:gridCol>
                <a:gridCol w="5759999">
                  <a:extLst>
                    <a:ext uri="{9D8B030D-6E8A-4147-A177-3AD203B41FA5}">
                      <a16:colId xmlns:a16="http://schemas.microsoft.com/office/drawing/2014/main" val="2968576537"/>
                    </a:ext>
                  </a:extLst>
                </a:gridCol>
              </a:tblGrid>
              <a:tr h="288000">
                <a:tc>
                  <a:txBody>
                    <a:bodyPr/>
                    <a:lstStyle/>
                    <a:p>
                      <a:r>
                        <a:rPr lang="de-DE" sz="1200" dirty="0">
                          <a:solidFill>
                            <a:schemeClr val="bg1"/>
                          </a:solidFill>
                        </a:rPr>
                        <a:t>Problemstellung</a:t>
                      </a:r>
                    </a:p>
                  </a:txBody>
                  <a:tcPr marL="36000" marR="36000" marT="36000" marB="36000">
                    <a:lnB w="12700" cap="flat" cmpd="sng" algn="ctr">
                      <a:solidFill>
                        <a:schemeClr val="bg1"/>
                      </a:solidFill>
                      <a:prstDash val="solid"/>
                      <a:round/>
                      <a:headEnd type="none" w="med" len="med"/>
                      <a:tailEnd type="none" w="med" len="med"/>
                    </a:lnB>
                    <a:solidFill>
                      <a:schemeClr val="tx2"/>
                    </a:solidFill>
                  </a:tcPr>
                </a:tc>
                <a:tc>
                  <a:txBody>
                    <a:bodyPr/>
                    <a:lstStyle/>
                    <a:p>
                      <a:r>
                        <a:rPr lang="de-DE" sz="1200" dirty="0">
                          <a:solidFill>
                            <a:schemeClr val="bg1"/>
                          </a:solidFill>
                        </a:rPr>
                        <a:t>Zielsetzung</a:t>
                      </a:r>
                    </a:p>
                  </a:txBody>
                  <a:tcPr marL="36000" marR="36000" marT="36000" marB="36000">
                    <a:lnB w="12700" cap="flat" cmpd="sng" algn="ctr">
                      <a:solidFill>
                        <a:schemeClr val="bg1"/>
                      </a:solidFill>
                      <a:prstDash val="solid"/>
                      <a:round/>
                      <a:headEnd type="none" w="med" len="med"/>
                      <a:tailEnd type="none" w="med" len="med"/>
                    </a:lnB>
                    <a:solidFill>
                      <a:schemeClr val="tx2"/>
                    </a:solidFill>
                  </a:tcPr>
                </a:tc>
                <a:extLst>
                  <a:ext uri="{0D108BD9-81ED-4DB2-BD59-A6C34878D82A}">
                    <a16:rowId xmlns:a16="http://schemas.microsoft.com/office/drawing/2014/main" val="2300150499"/>
                  </a:ext>
                </a:extLst>
              </a:tr>
              <a:tr h="720000">
                <a:tc>
                  <a:txBody>
                    <a:bodyPr/>
                    <a:lstStyle/>
                    <a:p>
                      <a:pPr marL="171450" indent="-171450">
                        <a:buFont typeface="Wingdings" panose="05000000000000000000" pitchFamily="2" charset="2"/>
                        <a:buChar char="§"/>
                      </a:pPr>
                      <a:r>
                        <a:rPr lang="de-DE" sz="1200" dirty="0"/>
                        <a:t>Lorem Ipsum</a:t>
                      </a:r>
                    </a:p>
                  </a:txBody>
                  <a:tcPr marL="36000" marR="36000" marT="36000" marB="36000">
                    <a:lnT w="12700" cap="flat" cmpd="sng" algn="ctr">
                      <a:solidFill>
                        <a:schemeClr val="bg1"/>
                      </a:solidFill>
                      <a:prstDash val="solid"/>
                      <a:round/>
                      <a:headEnd type="none" w="med" len="med"/>
                      <a:tailEnd type="none" w="med" len="med"/>
                    </a:lnT>
                    <a:noFill/>
                  </a:tcPr>
                </a:tc>
                <a:tc>
                  <a:txBody>
                    <a:bodyPr/>
                    <a:lstStyle/>
                    <a:p>
                      <a:pPr marL="171450" indent="-171450">
                        <a:buFont typeface="Wingdings" panose="05000000000000000000" pitchFamily="2" charset="2"/>
                        <a:buChar char="§"/>
                      </a:pPr>
                      <a:r>
                        <a:rPr lang="de-DE" sz="1200" dirty="0"/>
                        <a:t>Lorem Ipsum</a:t>
                      </a:r>
                    </a:p>
                  </a:txBody>
                  <a:tcPr marL="36000" marR="36000" marT="36000" marB="36000">
                    <a:lnT w="12700" cap="flat" cmpd="sng" algn="ctr">
                      <a:solidFill>
                        <a:schemeClr val="bg1"/>
                      </a:solidFill>
                      <a:prstDash val="solid"/>
                      <a:round/>
                      <a:headEnd type="none" w="med" len="med"/>
                      <a:tailEnd type="none" w="med" len="med"/>
                    </a:lnT>
                    <a:noFill/>
                  </a:tcPr>
                </a:tc>
                <a:extLst>
                  <a:ext uri="{0D108BD9-81ED-4DB2-BD59-A6C34878D82A}">
                    <a16:rowId xmlns:a16="http://schemas.microsoft.com/office/drawing/2014/main" val="2556466482"/>
                  </a:ext>
                </a:extLst>
              </a:tr>
            </a:tbl>
          </a:graphicData>
        </a:graphic>
      </p:graphicFrame>
      <p:graphicFrame>
        <p:nvGraphicFramePr>
          <p:cNvPr id="20" name="Tabelle 19">
            <a:extLst>
              <a:ext uri="{FF2B5EF4-FFF2-40B4-BE49-F238E27FC236}">
                <a16:creationId xmlns:a16="http://schemas.microsoft.com/office/drawing/2014/main" id="{E3A35E71-9461-4A7D-B0B3-048D7F20BFE9}"/>
              </a:ext>
            </a:extLst>
          </p:cNvPr>
          <p:cNvGraphicFramePr>
            <a:graphicFrameLocks noGrp="1"/>
          </p:cNvGraphicFramePr>
          <p:nvPr>
            <p:extLst>
              <p:ext uri="{D42A27DB-BD31-4B8C-83A1-F6EECF244321}">
                <p14:modId xmlns:p14="http://schemas.microsoft.com/office/powerpoint/2010/main" val="4163007834"/>
              </p:ext>
            </p:extLst>
          </p:nvPr>
        </p:nvGraphicFramePr>
        <p:xfrm>
          <a:off x="334962" y="2956813"/>
          <a:ext cx="11519997" cy="1368000"/>
        </p:xfrm>
        <a:graphic>
          <a:graphicData uri="http://schemas.openxmlformats.org/drawingml/2006/table">
            <a:tbl>
              <a:tblPr firstRow="1" bandRow="1">
                <a:tableStyleId>{073A0DAA-6AF3-43AB-8588-CEC1D06C72B9}</a:tableStyleId>
              </a:tblPr>
              <a:tblGrid>
                <a:gridCol w="3839999">
                  <a:extLst>
                    <a:ext uri="{9D8B030D-6E8A-4147-A177-3AD203B41FA5}">
                      <a16:colId xmlns:a16="http://schemas.microsoft.com/office/drawing/2014/main" val="106561458"/>
                    </a:ext>
                  </a:extLst>
                </a:gridCol>
                <a:gridCol w="3839999">
                  <a:extLst>
                    <a:ext uri="{9D8B030D-6E8A-4147-A177-3AD203B41FA5}">
                      <a16:colId xmlns:a16="http://schemas.microsoft.com/office/drawing/2014/main" val="3510203028"/>
                    </a:ext>
                  </a:extLst>
                </a:gridCol>
                <a:gridCol w="3839999">
                  <a:extLst>
                    <a:ext uri="{9D8B030D-6E8A-4147-A177-3AD203B41FA5}">
                      <a16:colId xmlns:a16="http://schemas.microsoft.com/office/drawing/2014/main" val="2968576537"/>
                    </a:ext>
                  </a:extLst>
                </a:gridCol>
              </a:tblGrid>
              <a:tr h="288000">
                <a:tc>
                  <a:txBody>
                    <a:bodyPr/>
                    <a:lstStyle/>
                    <a:p>
                      <a:r>
                        <a:rPr lang="de-DE" sz="1200" dirty="0">
                          <a:solidFill>
                            <a:schemeClr val="bg1"/>
                          </a:solidFill>
                        </a:rPr>
                        <a:t>Potentielle Risiken</a:t>
                      </a:r>
                    </a:p>
                  </a:txBody>
                  <a:tcPr marL="36000" marR="36000" marT="36000" marB="36000">
                    <a:lnB w="12700" cap="flat" cmpd="sng" algn="ctr">
                      <a:solidFill>
                        <a:schemeClr val="bg1"/>
                      </a:solidFill>
                      <a:prstDash val="solid"/>
                      <a:round/>
                      <a:headEnd type="none" w="med" len="med"/>
                      <a:tailEnd type="none" w="med" len="med"/>
                    </a:lnB>
                    <a:solidFill>
                      <a:schemeClr val="tx2"/>
                    </a:solidFill>
                  </a:tcPr>
                </a:tc>
                <a:tc>
                  <a:txBody>
                    <a:bodyPr/>
                    <a:lstStyle/>
                    <a:p>
                      <a:r>
                        <a:rPr lang="de-DE" sz="1200" dirty="0">
                          <a:solidFill>
                            <a:schemeClr val="bg1"/>
                          </a:solidFill>
                        </a:rPr>
                        <a:t>Benötigter Input</a:t>
                      </a:r>
                    </a:p>
                  </a:txBody>
                  <a:tcPr marL="36000" marR="36000" marT="36000" marB="36000">
                    <a:lnB w="12700" cap="flat" cmpd="sng" algn="ctr">
                      <a:solidFill>
                        <a:schemeClr val="bg1"/>
                      </a:solidFill>
                      <a:prstDash val="solid"/>
                      <a:round/>
                      <a:headEnd type="none" w="med" len="med"/>
                      <a:tailEnd type="none" w="med" len="med"/>
                    </a:lnB>
                    <a:solidFill>
                      <a:schemeClr val="tx2"/>
                    </a:solidFill>
                  </a:tcPr>
                </a:tc>
                <a:tc>
                  <a:txBody>
                    <a:bodyPr/>
                    <a:lstStyle/>
                    <a:p>
                      <a:r>
                        <a:rPr lang="de-DE" sz="1200" dirty="0">
                          <a:solidFill>
                            <a:schemeClr val="bg1"/>
                          </a:solidFill>
                        </a:rPr>
                        <a:t>Ergebnisse/ Output/ Liefergegenstände</a:t>
                      </a:r>
                    </a:p>
                  </a:txBody>
                  <a:tcPr marL="36000" marR="36000" marT="36000" marB="36000">
                    <a:lnB w="12700" cap="flat" cmpd="sng" algn="ctr">
                      <a:solidFill>
                        <a:schemeClr val="bg1"/>
                      </a:solidFill>
                      <a:prstDash val="solid"/>
                      <a:round/>
                      <a:headEnd type="none" w="med" len="med"/>
                      <a:tailEnd type="none" w="med" len="med"/>
                    </a:lnB>
                    <a:solidFill>
                      <a:schemeClr val="tx2"/>
                    </a:solidFill>
                  </a:tcPr>
                </a:tc>
                <a:extLst>
                  <a:ext uri="{0D108BD9-81ED-4DB2-BD59-A6C34878D82A}">
                    <a16:rowId xmlns:a16="http://schemas.microsoft.com/office/drawing/2014/main" val="2300150499"/>
                  </a:ext>
                </a:extLst>
              </a:tr>
              <a:tr h="1080000">
                <a:tc>
                  <a:txBody>
                    <a:bodyPr/>
                    <a:lstStyle/>
                    <a:p>
                      <a:pPr marL="171450" indent="-171450">
                        <a:buFont typeface="Wingdings" panose="05000000000000000000" pitchFamily="2" charset="2"/>
                        <a:buChar char="§"/>
                      </a:pPr>
                      <a:r>
                        <a:rPr lang="de-DE" sz="1200" dirty="0"/>
                        <a:t>Lorem Ipsum</a:t>
                      </a:r>
                    </a:p>
                  </a:txBody>
                  <a:tcPr marL="36000" marR="36000" marT="36000" marB="36000">
                    <a:lnT w="12700" cap="flat" cmpd="sng" algn="ctr">
                      <a:solidFill>
                        <a:schemeClr val="bg1"/>
                      </a:solidFill>
                      <a:prstDash val="solid"/>
                      <a:round/>
                      <a:headEnd type="none" w="med" len="med"/>
                      <a:tailEnd type="none" w="med" len="med"/>
                    </a:lnT>
                    <a:noFill/>
                  </a:tcPr>
                </a:tc>
                <a:tc>
                  <a:txBody>
                    <a:bodyPr/>
                    <a:lstStyle/>
                    <a:p>
                      <a:pPr marL="171450" indent="-171450">
                        <a:buFont typeface="Wingdings" panose="05000000000000000000" pitchFamily="2" charset="2"/>
                        <a:buChar char="§"/>
                      </a:pPr>
                      <a:r>
                        <a:rPr lang="de-DE" sz="1200" dirty="0"/>
                        <a:t>Lorem Ipsum</a:t>
                      </a:r>
                    </a:p>
                  </a:txBody>
                  <a:tcPr marL="36000" marR="36000" marT="36000" marB="36000">
                    <a:lnT w="12700" cap="flat" cmpd="sng" algn="ctr">
                      <a:solidFill>
                        <a:schemeClr val="bg1"/>
                      </a:solidFill>
                      <a:prstDash val="solid"/>
                      <a:round/>
                      <a:headEnd type="none" w="med" len="med"/>
                      <a:tailEnd type="none" w="med" len="med"/>
                    </a:lnT>
                    <a:noFill/>
                  </a:tcPr>
                </a:tc>
                <a:tc>
                  <a:txBody>
                    <a:bodyPr/>
                    <a:lstStyle/>
                    <a:p>
                      <a:pPr marL="171450" indent="-171450">
                        <a:buFont typeface="Wingdings" panose="05000000000000000000" pitchFamily="2" charset="2"/>
                        <a:buChar char="§"/>
                      </a:pPr>
                      <a:r>
                        <a:rPr lang="de-DE" sz="1200" dirty="0"/>
                        <a:t>Lorem Ipsum</a:t>
                      </a:r>
                    </a:p>
                  </a:txBody>
                  <a:tcPr marL="36000" marR="36000" marT="36000" marB="36000">
                    <a:lnT w="12700" cap="flat" cmpd="sng" algn="ctr">
                      <a:solidFill>
                        <a:schemeClr val="bg1"/>
                      </a:solidFill>
                      <a:prstDash val="solid"/>
                      <a:round/>
                      <a:headEnd type="none" w="med" len="med"/>
                      <a:tailEnd type="none" w="med" len="med"/>
                    </a:lnT>
                    <a:noFill/>
                  </a:tcPr>
                </a:tc>
                <a:extLst>
                  <a:ext uri="{0D108BD9-81ED-4DB2-BD59-A6C34878D82A}">
                    <a16:rowId xmlns:a16="http://schemas.microsoft.com/office/drawing/2014/main" val="2556466482"/>
                  </a:ext>
                </a:extLst>
              </a:tr>
            </a:tbl>
          </a:graphicData>
        </a:graphic>
      </p:graphicFrame>
      <p:graphicFrame>
        <p:nvGraphicFramePr>
          <p:cNvPr id="23" name="Tabelle 22">
            <a:extLst>
              <a:ext uri="{FF2B5EF4-FFF2-40B4-BE49-F238E27FC236}">
                <a16:creationId xmlns:a16="http://schemas.microsoft.com/office/drawing/2014/main" id="{66374E13-1A52-43E8-AF62-BABFC6049D85}"/>
              </a:ext>
            </a:extLst>
          </p:cNvPr>
          <p:cNvGraphicFramePr>
            <a:graphicFrameLocks noGrp="1"/>
          </p:cNvGraphicFramePr>
          <p:nvPr>
            <p:extLst>
              <p:ext uri="{D42A27DB-BD31-4B8C-83A1-F6EECF244321}">
                <p14:modId xmlns:p14="http://schemas.microsoft.com/office/powerpoint/2010/main" val="29513273"/>
              </p:ext>
            </p:extLst>
          </p:nvPr>
        </p:nvGraphicFramePr>
        <p:xfrm>
          <a:off x="334962" y="4371468"/>
          <a:ext cx="11519998" cy="2088000"/>
        </p:xfrm>
        <a:graphic>
          <a:graphicData uri="http://schemas.openxmlformats.org/drawingml/2006/table">
            <a:tbl>
              <a:tblPr firstRow="1" bandRow="1">
                <a:tableStyleId>{073A0DAA-6AF3-43AB-8588-CEC1D06C72B9}</a:tableStyleId>
              </a:tblPr>
              <a:tblGrid>
                <a:gridCol w="5759999">
                  <a:extLst>
                    <a:ext uri="{9D8B030D-6E8A-4147-A177-3AD203B41FA5}">
                      <a16:colId xmlns:a16="http://schemas.microsoft.com/office/drawing/2014/main" val="106561458"/>
                    </a:ext>
                  </a:extLst>
                </a:gridCol>
                <a:gridCol w="5759999">
                  <a:extLst>
                    <a:ext uri="{9D8B030D-6E8A-4147-A177-3AD203B41FA5}">
                      <a16:colId xmlns:a16="http://schemas.microsoft.com/office/drawing/2014/main" val="2968576537"/>
                    </a:ext>
                  </a:extLst>
                </a:gridCol>
              </a:tblGrid>
              <a:tr h="288000">
                <a:tc>
                  <a:txBody>
                    <a:bodyPr/>
                    <a:lstStyle/>
                    <a:p>
                      <a:r>
                        <a:rPr lang="de-DE" sz="1200" dirty="0">
                          <a:solidFill>
                            <a:schemeClr val="bg1"/>
                          </a:solidFill>
                        </a:rPr>
                        <a:t>Projektteam</a:t>
                      </a:r>
                    </a:p>
                  </a:txBody>
                  <a:tcPr marL="36000" marR="36000" marT="36000" marB="36000">
                    <a:lnB w="12700" cap="flat" cmpd="sng" algn="ctr">
                      <a:solidFill>
                        <a:schemeClr val="bg1"/>
                      </a:solidFill>
                      <a:prstDash val="solid"/>
                      <a:round/>
                      <a:headEnd type="none" w="med" len="med"/>
                      <a:tailEnd type="none" w="med" len="med"/>
                    </a:lnB>
                    <a:solidFill>
                      <a:schemeClr val="tx2"/>
                    </a:solidFill>
                  </a:tcPr>
                </a:tc>
                <a:tc>
                  <a:txBody>
                    <a:bodyPr/>
                    <a:lstStyle/>
                    <a:p>
                      <a:r>
                        <a:rPr lang="de-DE" sz="1200" dirty="0">
                          <a:solidFill>
                            <a:schemeClr val="bg1"/>
                          </a:solidFill>
                        </a:rPr>
                        <a:t>Maßnahmen und dazugehörige Meilensteine (Datum und Verantwortlich)</a:t>
                      </a:r>
                    </a:p>
                  </a:txBody>
                  <a:tcPr marL="36000" marR="36000" marT="36000" marB="36000">
                    <a:lnB w="12700" cap="flat" cmpd="sng" algn="ctr">
                      <a:solidFill>
                        <a:schemeClr val="bg1"/>
                      </a:solidFill>
                      <a:prstDash val="solid"/>
                      <a:round/>
                      <a:headEnd type="none" w="med" len="med"/>
                      <a:tailEnd type="none" w="med" len="med"/>
                    </a:lnB>
                    <a:solidFill>
                      <a:schemeClr val="tx2"/>
                    </a:solidFill>
                  </a:tcPr>
                </a:tc>
                <a:extLst>
                  <a:ext uri="{0D108BD9-81ED-4DB2-BD59-A6C34878D82A}">
                    <a16:rowId xmlns:a16="http://schemas.microsoft.com/office/drawing/2014/main" val="2300150499"/>
                  </a:ext>
                </a:extLst>
              </a:tr>
              <a:tr h="1800000">
                <a:tc>
                  <a:txBody>
                    <a:bodyPr/>
                    <a:lstStyle/>
                    <a:p>
                      <a:pPr marL="171450" indent="-171450">
                        <a:buFont typeface="Wingdings" panose="05000000000000000000" pitchFamily="2" charset="2"/>
                        <a:buChar char="§"/>
                      </a:pPr>
                      <a:r>
                        <a:rPr lang="de-DE" sz="1200" dirty="0"/>
                        <a:t>Name (OE), Kapazität</a:t>
                      </a:r>
                    </a:p>
                    <a:p>
                      <a:pPr marL="171450" indent="-171450">
                        <a:buFont typeface="Wingdings" panose="05000000000000000000" pitchFamily="2" charset="2"/>
                        <a:buChar char="§"/>
                      </a:pPr>
                      <a:r>
                        <a:rPr lang="de-DE" sz="1200" dirty="0"/>
                        <a:t>…</a:t>
                      </a:r>
                    </a:p>
                  </a:txBody>
                  <a:tcPr marL="36000" marR="36000" marT="36000" marB="36000">
                    <a:lnT w="12700" cap="flat" cmpd="sng" algn="ctr">
                      <a:solidFill>
                        <a:schemeClr val="bg1"/>
                      </a:solidFill>
                      <a:prstDash val="solid"/>
                      <a:round/>
                      <a:headEnd type="none" w="med" len="med"/>
                      <a:tailEnd type="none" w="med" len="med"/>
                    </a:lnT>
                    <a:noFill/>
                  </a:tcPr>
                </a:tc>
                <a:tc>
                  <a:txBody>
                    <a:bodyPr/>
                    <a:lstStyle/>
                    <a:p>
                      <a:pPr marL="171450" indent="-171450">
                        <a:buFont typeface="Wingdings" panose="05000000000000000000" pitchFamily="2" charset="2"/>
                        <a:buChar char="§"/>
                      </a:pPr>
                      <a:r>
                        <a:rPr lang="de-DE" sz="1200" dirty="0"/>
                        <a:t>Maßnahme 1 (tt.mm.jjjj, N.N. (OE))</a:t>
                      </a: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de-DE" sz="1200" dirty="0"/>
                        <a:t>Maßnahme 2 (tt.mm.jjjj, Maike Hinsch (OE))</a:t>
                      </a: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de-DE" sz="1200" dirty="0"/>
                        <a:t>…</a:t>
                      </a:r>
                    </a:p>
                  </a:txBody>
                  <a:tcPr marL="36000" marR="36000" marT="36000" marB="36000">
                    <a:lnT w="12700" cap="flat" cmpd="sng" algn="ctr">
                      <a:solidFill>
                        <a:schemeClr val="bg1"/>
                      </a:solidFill>
                      <a:prstDash val="solid"/>
                      <a:round/>
                      <a:headEnd type="none" w="med" len="med"/>
                      <a:tailEnd type="none" w="med" len="med"/>
                    </a:lnT>
                    <a:noFill/>
                  </a:tcPr>
                </a:tc>
                <a:extLst>
                  <a:ext uri="{0D108BD9-81ED-4DB2-BD59-A6C34878D82A}">
                    <a16:rowId xmlns:a16="http://schemas.microsoft.com/office/drawing/2014/main" val="2556466482"/>
                  </a:ext>
                </a:extLst>
              </a:tr>
            </a:tbl>
          </a:graphicData>
        </a:graphic>
      </p:graphicFrame>
    </p:spTree>
    <p:extLst>
      <p:ext uri="{BB962C8B-B14F-4D97-AF65-F5344CB8AC3E}">
        <p14:creationId xmlns:p14="http://schemas.microsoft.com/office/powerpoint/2010/main" val="288026708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3AC3BCDE-ECE2-4351-99F5-D7BCD5ACE473}"/>
              </a:ext>
            </a:extLst>
          </p:cNvPr>
          <p:cNvGraphicFramePr>
            <a:graphicFrameLocks noChangeAspect="1"/>
          </p:cNvGraphicFramePr>
          <p:nvPr>
            <p:custDataLst>
              <p:tags r:id="rId1"/>
            </p:custDataLst>
            <p:extLst>
              <p:ext uri="{D42A27DB-BD31-4B8C-83A1-F6EECF244321}">
                <p14:modId xmlns:p14="http://schemas.microsoft.com/office/powerpoint/2010/main" val="27741238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6" progId="TCLayout.ActiveDocument.1">
                  <p:embed/>
                </p:oleObj>
              </mc:Choice>
              <mc:Fallback>
                <p:oleObj name="think-cell Folie" r:id="rId3" imgW="425" imgH="426" progId="TCLayout.ActiveDocument.1">
                  <p:embed/>
                  <p:pic>
                    <p:nvPicPr>
                      <p:cNvPr id="5" name="Objekt 4" hidden="1">
                        <a:extLst>
                          <a:ext uri="{FF2B5EF4-FFF2-40B4-BE49-F238E27FC236}">
                            <a16:creationId xmlns:a16="http://schemas.microsoft.com/office/drawing/2014/main" id="{3AC3BCDE-ECE2-4351-99F5-D7BCD5ACE47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5FC5268C-A911-45F3-992C-A89D6E608D41}"/>
              </a:ext>
            </a:extLst>
          </p:cNvPr>
          <p:cNvSpPr>
            <a:spLocks noGrp="1"/>
          </p:cNvSpPr>
          <p:nvPr>
            <p:ph type="title"/>
          </p:nvPr>
        </p:nvSpPr>
        <p:spPr>
          <a:xfrm>
            <a:off x="334961" y="321705"/>
            <a:ext cx="11520000" cy="540000"/>
          </a:xfrm>
        </p:spPr>
        <p:txBody>
          <a:bodyPr vert="horz"/>
          <a:lstStyle/>
          <a:p>
            <a:r>
              <a:rPr lang="de-DE" dirty="0"/>
              <a:t>Stakeholder-Analyse</a:t>
            </a:r>
          </a:p>
        </p:txBody>
      </p:sp>
      <p:graphicFrame>
        <p:nvGraphicFramePr>
          <p:cNvPr id="4" name="Tabelle 8">
            <a:extLst>
              <a:ext uri="{FF2B5EF4-FFF2-40B4-BE49-F238E27FC236}">
                <a16:creationId xmlns:a16="http://schemas.microsoft.com/office/drawing/2014/main" id="{2F7E9A6B-20DE-4DF5-A60B-9FDF382781D5}"/>
              </a:ext>
            </a:extLst>
          </p:cNvPr>
          <p:cNvGraphicFramePr>
            <a:graphicFrameLocks noGrp="1"/>
          </p:cNvGraphicFramePr>
          <p:nvPr>
            <p:extLst>
              <p:ext uri="{D42A27DB-BD31-4B8C-83A1-F6EECF244321}">
                <p14:modId xmlns:p14="http://schemas.microsoft.com/office/powerpoint/2010/main" val="3197860619"/>
              </p:ext>
            </p:extLst>
          </p:nvPr>
        </p:nvGraphicFramePr>
        <p:xfrm>
          <a:off x="334962" y="1125538"/>
          <a:ext cx="11519999" cy="4817641"/>
        </p:xfrm>
        <a:graphic>
          <a:graphicData uri="http://schemas.openxmlformats.org/drawingml/2006/table">
            <a:tbl>
              <a:tblPr firstRow="1" bandRow="1">
                <a:tableStyleId>{5C22544A-7EE6-4342-B048-85BDC9FD1C3A}</a:tableStyleId>
              </a:tblPr>
              <a:tblGrid>
                <a:gridCol w="564053">
                  <a:extLst>
                    <a:ext uri="{9D8B030D-6E8A-4147-A177-3AD203B41FA5}">
                      <a16:colId xmlns:a16="http://schemas.microsoft.com/office/drawing/2014/main" val="1091328136"/>
                    </a:ext>
                  </a:extLst>
                </a:gridCol>
                <a:gridCol w="1721282">
                  <a:extLst>
                    <a:ext uri="{9D8B030D-6E8A-4147-A177-3AD203B41FA5}">
                      <a16:colId xmlns:a16="http://schemas.microsoft.com/office/drawing/2014/main" val="2868156984"/>
                    </a:ext>
                  </a:extLst>
                </a:gridCol>
                <a:gridCol w="2308666">
                  <a:extLst>
                    <a:ext uri="{9D8B030D-6E8A-4147-A177-3AD203B41FA5}">
                      <a16:colId xmlns:a16="http://schemas.microsoft.com/office/drawing/2014/main" val="3781933988"/>
                    </a:ext>
                  </a:extLst>
                </a:gridCol>
                <a:gridCol w="2308666">
                  <a:extLst>
                    <a:ext uri="{9D8B030D-6E8A-4147-A177-3AD203B41FA5}">
                      <a16:colId xmlns:a16="http://schemas.microsoft.com/office/drawing/2014/main" val="188871332"/>
                    </a:ext>
                  </a:extLst>
                </a:gridCol>
                <a:gridCol w="2308666">
                  <a:extLst>
                    <a:ext uri="{9D8B030D-6E8A-4147-A177-3AD203B41FA5}">
                      <a16:colId xmlns:a16="http://schemas.microsoft.com/office/drawing/2014/main" val="2481238477"/>
                    </a:ext>
                  </a:extLst>
                </a:gridCol>
                <a:gridCol w="2308666">
                  <a:extLst>
                    <a:ext uri="{9D8B030D-6E8A-4147-A177-3AD203B41FA5}">
                      <a16:colId xmlns:a16="http://schemas.microsoft.com/office/drawing/2014/main" val="3885695690"/>
                    </a:ext>
                  </a:extLst>
                </a:gridCol>
              </a:tblGrid>
              <a:tr h="348699">
                <a:tc>
                  <a:txBody>
                    <a:bodyPr/>
                    <a:lstStyle/>
                    <a:p>
                      <a:pPr algn="ctr"/>
                      <a:r>
                        <a:rPr lang="de-DE" sz="1400" b="1" dirty="0"/>
                        <a:t>Nr.</a:t>
                      </a:r>
                    </a:p>
                  </a:txBody>
                  <a:tcPr marL="36000" marR="36000" marT="36000" marB="36000">
                    <a:solidFill>
                      <a:schemeClr val="tx2"/>
                    </a:solidFill>
                  </a:tcPr>
                </a:tc>
                <a:tc>
                  <a:txBody>
                    <a:bodyPr/>
                    <a:lstStyle/>
                    <a:p>
                      <a:pPr algn="ctr"/>
                      <a:r>
                        <a:rPr lang="de-DE" sz="1400" b="1" dirty="0"/>
                        <a:t>Stakeholder</a:t>
                      </a:r>
                    </a:p>
                  </a:txBody>
                  <a:tcPr marL="36000" marR="36000" marT="36000" marB="36000">
                    <a:solidFill>
                      <a:schemeClr val="tx2"/>
                    </a:solidFill>
                  </a:tcPr>
                </a:tc>
                <a:tc>
                  <a:txBody>
                    <a:bodyPr/>
                    <a:lstStyle/>
                    <a:p>
                      <a:pPr algn="ctr"/>
                      <a:r>
                        <a:rPr lang="de-DE" sz="1400" b="1" dirty="0"/>
                        <a:t>Unterstützung des Projekts</a:t>
                      </a:r>
                    </a:p>
                  </a:txBody>
                  <a:tcPr marL="36000" marR="36000" marT="36000" marB="36000">
                    <a:solidFill>
                      <a:schemeClr val="tx2"/>
                    </a:solidFill>
                  </a:tcPr>
                </a:tc>
                <a:tc>
                  <a:txBody>
                    <a:bodyPr/>
                    <a:lstStyle/>
                    <a:p>
                      <a:pPr algn="ctr"/>
                      <a:r>
                        <a:rPr lang="de-DE" sz="1400" b="1" dirty="0"/>
                        <a:t>Einfluss auf das Projekt</a:t>
                      </a:r>
                    </a:p>
                  </a:txBody>
                  <a:tcPr marL="36000" marR="36000" marT="36000" marB="36000">
                    <a:solidFill>
                      <a:schemeClr val="tx2"/>
                    </a:solidFill>
                  </a:tcPr>
                </a:tc>
                <a:tc>
                  <a:txBody>
                    <a:bodyPr/>
                    <a:lstStyle/>
                    <a:p>
                      <a:pPr algn="ctr"/>
                      <a:r>
                        <a:rPr lang="de-DE" sz="1400" b="1" dirty="0"/>
                        <a:t>Erwartetes Verhalten</a:t>
                      </a:r>
                    </a:p>
                  </a:txBody>
                  <a:tcPr marL="36000" marR="36000" marT="36000" marB="36000">
                    <a:solidFill>
                      <a:schemeClr val="tx2"/>
                    </a:solidFill>
                  </a:tcPr>
                </a:tc>
                <a:tc>
                  <a:txBody>
                    <a:bodyPr/>
                    <a:lstStyle/>
                    <a:p>
                      <a:pPr algn="ctr"/>
                      <a:r>
                        <a:rPr lang="de-DE" sz="1400" b="1" dirty="0"/>
                        <a:t>Konsequenzen für das Projekt</a:t>
                      </a:r>
                    </a:p>
                  </a:txBody>
                  <a:tcPr marL="36000" marR="36000" marT="36000" marB="36000">
                    <a:solidFill>
                      <a:schemeClr val="tx2"/>
                    </a:solidFill>
                  </a:tcPr>
                </a:tc>
                <a:extLst>
                  <a:ext uri="{0D108BD9-81ED-4DB2-BD59-A6C34878D82A}">
                    <a16:rowId xmlns:a16="http://schemas.microsoft.com/office/drawing/2014/main" val="1559607796"/>
                  </a:ext>
                </a:extLst>
              </a:tr>
              <a:tr h="2267522">
                <a:tc>
                  <a:txBody>
                    <a:bodyPr/>
                    <a:lstStyle/>
                    <a:p>
                      <a:pPr algn="ctr"/>
                      <a:r>
                        <a:rPr lang="de-DE" sz="1200" b="1" dirty="0"/>
                        <a:t>1.</a:t>
                      </a:r>
                    </a:p>
                  </a:txBody>
                  <a:tcPr marL="36000" marR="36000" marT="36000" marB="36000"/>
                </a:tc>
                <a:tc>
                  <a:txBody>
                    <a:bodyPr/>
                    <a:lstStyle/>
                    <a:p>
                      <a:r>
                        <a:rPr lang="de-DE" sz="1200" i="0" dirty="0"/>
                        <a:t>Betriebsrat</a:t>
                      </a:r>
                    </a:p>
                  </a:txBody>
                  <a:tcPr marL="36000" marR="36000" marT="36000" marB="36000"/>
                </a:tc>
                <a:tc>
                  <a:txBody>
                    <a:bodyPr/>
                    <a:lstStyle/>
                    <a:p>
                      <a:r>
                        <a:rPr lang="de-DE" sz="1200" dirty="0"/>
                        <a:t>Unwahrscheinlich, da Restrukturierung und mit Personalmaßnahmen zu rechnen ist.</a:t>
                      </a:r>
                    </a:p>
                  </a:txBody>
                  <a:tcPr marL="36000" marR="36000" marT="36000" marB="36000"/>
                </a:tc>
                <a:tc>
                  <a:txBody>
                    <a:bodyPr/>
                    <a:lstStyle/>
                    <a:p>
                      <a:r>
                        <a:rPr lang="de-DE" sz="1200" dirty="0"/>
                        <a:t>Initial gering. Abstimmung der Maßnahmen vor Umsetzung notwendig.</a:t>
                      </a:r>
                    </a:p>
                  </a:txBody>
                  <a:tcPr marL="36000" marR="36000" marT="36000" marB="36000"/>
                </a:tc>
                <a:tc>
                  <a:txBody>
                    <a:bodyPr/>
                    <a:lstStyle/>
                    <a:p>
                      <a:r>
                        <a:rPr lang="de-DE" sz="1200" dirty="0"/>
                        <a:t>Sobald der Betriebsrat von dem Projekt erfährt, werden wir regelmäßig Informationen zu geplanten Maßnahmen bereitstellen müssen.</a:t>
                      </a:r>
                    </a:p>
                  </a:txBody>
                  <a:tcPr marL="36000" marR="36000" marT="36000" marB="36000"/>
                </a:tc>
                <a:tc>
                  <a:txBody>
                    <a:bodyPr/>
                    <a:lstStyle/>
                    <a:p>
                      <a:r>
                        <a:rPr lang="de-DE" sz="1200" dirty="0"/>
                        <a:t>Option 1) Betriebsrat vorab informieren und von der Notwendigkeit überzeugen.</a:t>
                      </a:r>
                    </a:p>
                    <a:p>
                      <a:r>
                        <a:rPr lang="de-DE" sz="1200" dirty="0"/>
                        <a:t>Option 2) Projekt geheim halten und dann Maßnahmen beim Betriebsrat vorstellen.</a:t>
                      </a:r>
                    </a:p>
                  </a:txBody>
                  <a:tcPr marL="36000" marR="36000" marT="36000" marB="36000"/>
                </a:tc>
                <a:extLst>
                  <a:ext uri="{0D108BD9-81ED-4DB2-BD59-A6C34878D82A}">
                    <a16:rowId xmlns:a16="http://schemas.microsoft.com/office/drawing/2014/main" val="2390227696"/>
                  </a:ext>
                </a:extLst>
              </a:tr>
              <a:tr h="1447469">
                <a:tc>
                  <a:txBody>
                    <a:bodyPr/>
                    <a:lstStyle/>
                    <a:p>
                      <a:pPr algn="ctr"/>
                      <a:r>
                        <a:rPr lang="de-DE" sz="1200" b="1" dirty="0"/>
                        <a:t>2.</a:t>
                      </a:r>
                    </a:p>
                  </a:txBody>
                  <a:tcPr marL="36000" marR="36000" marT="36000" marB="36000"/>
                </a:tc>
                <a:tc>
                  <a:txBody>
                    <a:bodyPr/>
                    <a:lstStyle/>
                    <a:p>
                      <a:r>
                        <a:rPr lang="de-DE" sz="1200" i="0" dirty="0"/>
                        <a:t>Belegschaft der Tochtergesellschaft ABC GmbH (Mitarbeiter und Führungskräfte)</a:t>
                      </a:r>
                      <a:endParaRPr lang="de-DE" sz="1200" dirty="0"/>
                    </a:p>
                  </a:txBody>
                  <a:tcPr marL="36000" marR="36000" marT="36000" marB="36000"/>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200" dirty="0"/>
                        <a:t>Unwahrscheinlich, da Restrukturierung und mit Personalmaßnahmen zu rechnen ist.</a:t>
                      </a:r>
                    </a:p>
                  </a:txBody>
                  <a:tcPr marL="36000" marR="36000" marT="36000" marB="36000"/>
                </a:tc>
                <a:tc>
                  <a:txBody>
                    <a:bodyPr/>
                    <a:lstStyle/>
                    <a:p>
                      <a:r>
                        <a:rPr lang="de-DE" sz="1200" dirty="0"/>
                        <a:t>Gering, aber könnten im Rahmen der Projektarbeit den Betriebsrat informieren.</a:t>
                      </a:r>
                    </a:p>
                  </a:txBody>
                  <a:tcPr marL="36000" marR="36000" marT="36000" marB="36000"/>
                </a:tc>
                <a:tc>
                  <a:txBody>
                    <a:bodyPr/>
                    <a:lstStyle/>
                    <a:p>
                      <a:r>
                        <a:rPr lang="de-DE" sz="1200" dirty="0"/>
                        <a:t>Information des Betriebsrats oder der Öffentlichkeit (Presse) zu den Maßnahmen</a:t>
                      </a:r>
                    </a:p>
                  </a:txBody>
                  <a:tcPr marL="36000" marR="36000" marT="36000" marB="36000"/>
                </a:tc>
                <a:tc>
                  <a:txBody>
                    <a:bodyPr/>
                    <a:lstStyle/>
                    <a:p>
                      <a:r>
                        <a:rPr lang="de-DE" sz="1200" dirty="0"/>
                        <a:t>Einführung umfassender Kommunikationsstrategie und Change-Management als Projekt Bestandteil.</a:t>
                      </a:r>
                    </a:p>
                  </a:txBody>
                  <a:tcPr marL="36000" marR="36000" marT="36000" marB="36000"/>
                </a:tc>
                <a:extLst>
                  <a:ext uri="{0D108BD9-81ED-4DB2-BD59-A6C34878D82A}">
                    <a16:rowId xmlns:a16="http://schemas.microsoft.com/office/drawing/2014/main" val="1190805613"/>
                  </a:ext>
                </a:extLst>
              </a:tr>
              <a:tr h="753951">
                <a:tc>
                  <a:txBody>
                    <a:bodyPr/>
                    <a:lstStyle/>
                    <a:p>
                      <a:pPr algn="ctr"/>
                      <a:r>
                        <a:rPr lang="de-DE" sz="1200" b="1" dirty="0"/>
                        <a:t>3.</a:t>
                      </a:r>
                    </a:p>
                  </a:txBody>
                  <a:tcPr marL="36000" marR="36000" marT="36000" marB="36000"/>
                </a:tc>
                <a:tc>
                  <a:txBody>
                    <a:bodyPr/>
                    <a:lstStyle/>
                    <a:p>
                      <a:r>
                        <a:rPr lang="de-DE" sz="1200" dirty="0"/>
                        <a:t>…</a:t>
                      </a:r>
                    </a:p>
                  </a:txBody>
                  <a:tcPr marL="36000" marR="36000" marT="36000" marB="36000"/>
                </a:tc>
                <a:tc>
                  <a:txBody>
                    <a:bodyPr/>
                    <a:lstStyle/>
                    <a:p>
                      <a:endParaRPr lang="de-DE" sz="1200" dirty="0"/>
                    </a:p>
                  </a:txBody>
                  <a:tcPr marL="36000" marR="36000" marT="36000" marB="36000"/>
                </a:tc>
                <a:tc>
                  <a:txBody>
                    <a:bodyPr/>
                    <a:lstStyle/>
                    <a:p>
                      <a:endParaRPr lang="de-DE" sz="1200" dirty="0"/>
                    </a:p>
                  </a:txBody>
                  <a:tcPr marL="36000" marR="36000" marT="36000" marB="36000"/>
                </a:tc>
                <a:tc>
                  <a:txBody>
                    <a:bodyPr/>
                    <a:lstStyle/>
                    <a:p>
                      <a:endParaRPr lang="de-DE" sz="1200" dirty="0"/>
                    </a:p>
                  </a:txBody>
                  <a:tcPr marL="36000" marR="36000" marT="36000" marB="36000"/>
                </a:tc>
                <a:tc>
                  <a:txBody>
                    <a:bodyPr/>
                    <a:lstStyle/>
                    <a:p>
                      <a:endParaRPr lang="de-DE" sz="1200" dirty="0"/>
                    </a:p>
                  </a:txBody>
                  <a:tcPr marL="36000" marR="36000" marT="36000" marB="36000"/>
                </a:tc>
                <a:extLst>
                  <a:ext uri="{0D108BD9-81ED-4DB2-BD59-A6C34878D82A}">
                    <a16:rowId xmlns:a16="http://schemas.microsoft.com/office/drawing/2014/main" val="3172617922"/>
                  </a:ext>
                </a:extLst>
              </a:tr>
            </a:tbl>
          </a:graphicData>
        </a:graphic>
      </p:graphicFrame>
      <p:sp>
        <p:nvSpPr>
          <p:cNvPr id="6" name="Rechteck 5">
            <a:extLst>
              <a:ext uri="{FF2B5EF4-FFF2-40B4-BE49-F238E27FC236}">
                <a16:creationId xmlns:a16="http://schemas.microsoft.com/office/drawing/2014/main" id="{38A4AFEE-8BAF-4829-928F-30186C1D56C9}"/>
              </a:ext>
            </a:extLst>
          </p:cNvPr>
          <p:cNvSpPr/>
          <p:nvPr/>
        </p:nvSpPr>
        <p:spPr>
          <a:xfrm>
            <a:off x="10954961" y="69705"/>
            <a:ext cx="900000" cy="252000"/>
          </a:xfrm>
          <a:prstGeom prst="rect">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b="1" dirty="0"/>
              <a:t>Entwurf</a:t>
            </a:r>
          </a:p>
        </p:txBody>
      </p:sp>
      <p:sp>
        <p:nvSpPr>
          <p:cNvPr id="9" name="Textfeld 8">
            <a:extLst>
              <a:ext uri="{FF2B5EF4-FFF2-40B4-BE49-F238E27FC236}">
                <a16:creationId xmlns:a16="http://schemas.microsoft.com/office/drawing/2014/main" id="{8351EFEA-81A5-48A5-8CC0-6E66DFC7BE73}"/>
              </a:ext>
            </a:extLst>
          </p:cNvPr>
          <p:cNvSpPr txBox="1"/>
          <p:nvPr/>
        </p:nvSpPr>
        <p:spPr>
          <a:xfrm>
            <a:off x="334963" y="6544666"/>
            <a:ext cx="1380506" cy="215444"/>
          </a:xfrm>
          <a:prstGeom prst="rect">
            <a:avLst/>
          </a:prstGeom>
          <a:noFill/>
        </p:spPr>
        <p:txBody>
          <a:bodyPr wrap="none" rtlCol="0" anchor="b">
            <a:spAutoFit/>
          </a:bodyPr>
          <a:lstStyle/>
          <a:p>
            <a:r>
              <a:rPr lang="de-DE" sz="800" dirty="0"/>
              <a:t>Quelle: Projektteam Phönix</a:t>
            </a:r>
          </a:p>
        </p:txBody>
      </p:sp>
    </p:spTree>
    <p:extLst>
      <p:ext uri="{BB962C8B-B14F-4D97-AF65-F5344CB8AC3E}">
        <p14:creationId xmlns:p14="http://schemas.microsoft.com/office/powerpoint/2010/main" val="221719052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3AC3BCDE-ECE2-4351-99F5-D7BCD5ACE47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7" imgW="425" imgH="426" progId="TCLayout.ActiveDocument.1">
                  <p:embed/>
                </p:oleObj>
              </mc:Choice>
              <mc:Fallback>
                <p:oleObj name="think-cell Folie" r:id="rId7" imgW="425" imgH="426" progId="TCLayout.ActiveDocument.1">
                  <p:embed/>
                  <p:pic>
                    <p:nvPicPr>
                      <p:cNvPr id="5" name="Objekt 4" hidden="1">
                        <a:extLst>
                          <a:ext uri="{FF2B5EF4-FFF2-40B4-BE49-F238E27FC236}">
                            <a16:creationId xmlns:a16="http://schemas.microsoft.com/office/drawing/2014/main" id="{3AC3BCDE-ECE2-4351-99F5-D7BCD5ACE473}"/>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5FC5268C-A911-45F3-992C-A89D6E608D41}"/>
              </a:ext>
            </a:extLst>
          </p:cNvPr>
          <p:cNvSpPr>
            <a:spLocks noGrp="1"/>
          </p:cNvSpPr>
          <p:nvPr>
            <p:ph type="title"/>
          </p:nvPr>
        </p:nvSpPr>
        <p:spPr>
          <a:xfrm>
            <a:off x="334961" y="321705"/>
            <a:ext cx="11520000" cy="540000"/>
          </a:xfrm>
        </p:spPr>
        <p:txBody>
          <a:bodyPr vert="horz"/>
          <a:lstStyle/>
          <a:p>
            <a:r>
              <a:rPr lang="de-DE" dirty="0"/>
              <a:t>Stakeholder-Analyse</a:t>
            </a:r>
          </a:p>
        </p:txBody>
      </p:sp>
      <p:sp>
        <p:nvSpPr>
          <p:cNvPr id="6" name="Rechteck 5">
            <a:extLst>
              <a:ext uri="{FF2B5EF4-FFF2-40B4-BE49-F238E27FC236}">
                <a16:creationId xmlns:a16="http://schemas.microsoft.com/office/drawing/2014/main" id="{38A4AFEE-8BAF-4829-928F-30186C1D56C9}"/>
              </a:ext>
            </a:extLst>
          </p:cNvPr>
          <p:cNvSpPr/>
          <p:nvPr/>
        </p:nvSpPr>
        <p:spPr>
          <a:xfrm>
            <a:off x="10954961" y="69705"/>
            <a:ext cx="900000" cy="252000"/>
          </a:xfrm>
          <a:prstGeom prst="rect">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b="1" dirty="0"/>
              <a:t>Entwurf</a:t>
            </a:r>
          </a:p>
        </p:txBody>
      </p:sp>
      <p:sp>
        <p:nvSpPr>
          <p:cNvPr id="9" name="Textfeld 8">
            <a:extLst>
              <a:ext uri="{FF2B5EF4-FFF2-40B4-BE49-F238E27FC236}">
                <a16:creationId xmlns:a16="http://schemas.microsoft.com/office/drawing/2014/main" id="{8351EFEA-81A5-48A5-8CC0-6E66DFC7BE73}"/>
              </a:ext>
            </a:extLst>
          </p:cNvPr>
          <p:cNvSpPr txBox="1"/>
          <p:nvPr/>
        </p:nvSpPr>
        <p:spPr>
          <a:xfrm>
            <a:off x="334963" y="6544666"/>
            <a:ext cx="1380506" cy="215444"/>
          </a:xfrm>
          <a:prstGeom prst="rect">
            <a:avLst/>
          </a:prstGeom>
          <a:noFill/>
        </p:spPr>
        <p:txBody>
          <a:bodyPr wrap="none" rtlCol="0" anchor="b">
            <a:spAutoFit/>
          </a:bodyPr>
          <a:lstStyle/>
          <a:p>
            <a:r>
              <a:rPr lang="de-DE" sz="800" dirty="0"/>
              <a:t>Quelle: Projektteam Phönix</a:t>
            </a:r>
          </a:p>
        </p:txBody>
      </p:sp>
      <p:grpSp>
        <p:nvGrpSpPr>
          <p:cNvPr id="26" name="Gruppieren 25">
            <a:extLst>
              <a:ext uri="{FF2B5EF4-FFF2-40B4-BE49-F238E27FC236}">
                <a16:creationId xmlns:a16="http://schemas.microsoft.com/office/drawing/2014/main" id="{D740FAC4-6884-4C76-96B9-9B3E0D4F8123}"/>
              </a:ext>
            </a:extLst>
          </p:cNvPr>
          <p:cNvGrpSpPr/>
          <p:nvPr/>
        </p:nvGrpSpPr>
        <p:grpSpPr>
          <a:xfrm>
            <a:off x="2352261" y="1538354"/>
            <a:ext cx="6973990" cy="4261945"/>
            <a:chOff x="2352261" y="1538354"/>
            <a:chExt cx="6973990" cy="4261945"/>
          </a:xfrm>
        </p:grpSpPr>
        <p:sp>
          <p:nvSpPr>
            <p:cNvPr id="7" name="Textplatzhalter 5">
              <a:extLst>
                <a:ext uri="{FF2B5EF4-FFF2-40B4-BE49-F238E27FC236}">
                  <a16:creationId xmlns:a16="http://schemas.microsoft.com/office/drawing/2014/main" id="{DA43DC02-5BEC-43A1-85D0-131732D6FF80}"/>
                </a:ext>
              </a:extLst>
            </p:cNvPr>
            <p:cNvSpPr txBox="1">
              <a:spLocks/>
            </p:cNvSpPr>
            <p:nvPr/>
          </p:nvSpPr>
          <p:spPr>
            <a:xfrm>
              <a:off x="2352261" y="3122913"/>
              <a:ext cx="1173077" cy="775015"/>
            </a:xfrm>
            <a:prstGeom prst="rect">
              <a:avLst/>
            </a:prstGeom>
          </p:spPr>
          <p:txBody>
            <a:bodyPr vert="horz" wrap="square" lIns="0" tIns="36000" rIns="0" bIns="0" rtlCol="0" anchor="ctr">
              <a:spAutoFit/>
            </a:bodyPr>
            <a:lstStyle>
              <a:lvl1pPr marL="0" indent="0" algn="l" defTabSz="914400" rtl="0" eaLnBrk="1" latinLnBrk="0" hangingPunct="1">
                <a:spcBef>
                  <a:spcPts val="0"/>
                </a:spcBef>
                <a:spcAft>
                  <a:spcPts val="0"/>
                </a:spcAft>
                <a:buFont typeface="Arial" pitchFamily="34" charset="0"/>
                <a:buNone/>
                <a:defRPr sz="1600" kern="1200">
                  <a:solidFill>
                    <a:schemeClr val="tx1"/>
                  </a:solidFill>
                  <a:latin typeface="+mn-lt"/>
                  <a:ea typeface="+mn-ea"/>
                  <a:cs typeface="+mn-cs"/>
                </a:defRPr>
              </a:lvl1pPr>
              <a:lvl2pPr marL="144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2pPr>
              <a:lvl3pPr marL="288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3pPr>
              <a:lvl4pPr marL="432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4pPr>
              <a:lvl5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5pPr>
              <a:lvl6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6pPr>
              <a:lvl7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7pPr>
              <a:lvl8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8pPr>
              <a:lvl9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9pPr>
            </a:lstStyle>
            <a:p>
              <a:pPr algn="r"/>
              <a:r>
                <a:rPr lang="de-DE" b="1" dirty="0"/>
                <a:t>Einfluss und Macht auf das Projekt</a:t>
              </a:r>
            </a:p>
          </p:txBody>
        </p:sp>
        <p:sp>
          <p:nvSpPr>
            <p:cNvPr id="10" name="Rectangle 13">
              <a:extLst>
                <a:ext uri="{FF2B5EF4-FFF2-40B4-BE49-F238E27FC236}">
                  <a16:creationId xmlns:a16="http://schemas.microsoft.com/office/drawing/2014/main" id="{82EA614B-AA9E-429E-8313-43586A7BE9A7}"/>
                </a:ext>
              </a:extLst>
            </p:cNvPr>
            <p:cNvSpPr>
              <a:spLocks noChangeArrowheads="1"/>
            </p:cNvSpPr>
            <p:nvPr>
              <p:custDataLst>
                <p:tags r:id="rId2"/>
              </p:custDataLst>
            </p:nvPr>
          </p:nvSpPr>
          <p:spPr bwMode="gray">
            <a:xfrm>
              <a:off x="3566251" y="3518709"/>
              <a:ext cx="2880000" cy="1980000"/>
            </a:xfrm>
            <a:prstGeom prst="rect">
              <a:avLst/>
            </a:prstGeom>
            <a:solidFill>
              <a:schemeClr val="bg2"/>
            </a:solidFill>
            <a:ln w="12700">
              <a:solidFill>
                <a:schemeClr val="tx1"/>
              </a:solidFill>
              <a:miter lim="800000"/>
              <a:headEnd/>
              <a:tailEnd/>
            </a:ln>
            <a:effectLst/>
          </p:spPr>
          <p:txBody>
            <a:bodyPr wrap="none" lIns="90000" tIns="46800" rIns="90000" bIns="46800" anchor="ctr"/>
            <a:lstStyle/>
            <a:p>
              <a:pPr marL="0" marR="0" lvl="0" indent="0" algn="ctr" defTabSz="914400" rtl="0" fontAlgn="auto" latinLnBrk="0" hangingPunct="1">
                <a:lnSpc>
                  <a:spcPct val="100000"/>
                </a:lnSpc>
                <a:spcBef>
                  <a:spcPts val="0"/>
                </a:spcBef>
                <a:spcAft>
                  <a:spcPts val="0"/>
                </a:spcAft>
                <a:buClrTx/>
                <a:buSzTx/>
                <a:buFontTx/>
                <a:buNone/>
                <a:tabLst/>
                <a:defRPr/>
              </a:pPr>
              <a:r>
                <a:rPr kumimoji="0" lang="de-DE" sz="1600" b="1" i="0" u="none" strike="noStrike" kern="1200" cap="none" spc="0" normalizeH="0" baseline="0">
                  <a:ln>
                    <a:noFill/>
                  </a:ln>
                  <a:solidFill>
                    <a:srgbClr val="000000"/>
                  </a:solidFill>
                  <a:effectLst/>
                  <a:uLnTx/>
                  <a:uFillTx/>
                  <a:ea typeface="+mn-ea"/>
                  <a:cs typeface="+mn-cs"/>
                  <a:sym typeface="+mn-lt"/>
                </a:rPr>
                <a:t>Beobachten</a:t>
              </a:r>
            </a:p>
          </p:txBody>
        </p:sp>
        <p:sp>
          <p:nvSpPr>
            <p:cNvPr id="11" name="Rectangle 15">
              <a:extLst>
                <a:ext uri="{FF2B5EF4-FFF2-40B4-BE49-F238E27FC236}">
                  <a16:creationId xmlns:a16="http://schemas.microsoft.com/office/drawing/2014/main" id="{14F8BAF8-3EDB-4688-A413-684808B88243}"/>
                </a:ext>
              </a:extLst>
            </p:cNvPr>
            <p:cNvSpPr>
              <a:spLocks noChangeArrowheads="1"/>
            </p:cNvSpPr>
            <p:nvPr>
              <p:custDataLst>
                <p:tags r:id="rId3"/>
              </p:custDataLst>
            </p:nvPr>
          </p:nvSpPr>
          <p:spPr bwMode="gray">
            <a:xfrm>
              <a:off x="6446251" y="3518709"/>
              <a:ext cx="2880000" cy="1980000"/>
            </a:xfrm>
            <a:prstGeom prst="rect">
              <a:avLst/>
            </a:prstGeom>
            <a:solidFill>
              <a:schemeClr val="accent1"/>
            </a:solidFill>
            <a:ln w="12700">
              <a:solidFill>
                <a:schemeClr val="tx1"/>
              </a:solidFill>
              <a:miter lim="800000"/>
              <a:headEnd/>
              <a:tailEnd/>
            </a:ln>
            <a:effectLst/>
          </p:spPr>
          <p:txBody>
            <a:bodyPr wrap="none" lIns="90000" tIns="46800" rIns="90000" bIns="46800" anchor="ctr"/>
            <a:lstStyle/>
            <a:p>
              <a:pPr marL="0" marR="0" lvl="0" indent="0" algn="ctr" defTabSz="914400" rtl="0" fontAlgn="auto" latinLnBrk="0" hangingPunct="1">
                <a:lnSpc>
                  <a:spcPct val="100000"/>
                </a:lnSpc>
                <a:spcBef>
                  <a:spcPts val="0"/>
                </a:spcBef>
                <a:spcAft>
                  <a:spcPts val="0"/>
                </a:spcAft>
                <a:buClrTx/>
                <a:buSzTx/>
                <a:buFontTx/>
                <a:buNone/>
                <a:tabLst/>
                <a:defRPr/>
              </a:pPr>
              <a:r>
                <a:rPr kumimoji="0" lang="de-DE" sz="1600" b="1" i="0" u="none" strike="noStrike" kern="1200" cap="none" spc="0" normalizeH="0" baseline="0">
                  <a:ln>
                    <a:noFill/>
                  </a:ln>
                  <a:solidFill>
                    <a:srgbClr val="000000"/>
                  </a:solidFill>
                  <a:effectLst/>
                  <a:uLnTx/>
                  <a:uFillTx/>
                  <a:ea typeface="+mn-ea"/>
                  <a:cs typeface="+mn-cs"/>
                  <a:sym typeface="+mn-lt"/>
                </a:rPr>
                <a:t>Informieren</a:t>
              </a:r>
            </a:p>
          </p:txBody>
        </p:sp>
        <p:sp>
          <p:nvSpPr>
            <p:cNvPr id="12" name="Rectangle 20">
              <a:extLst>
                <a:ext uri="{FF2B5EF4-FFF2-40B4-BE49-F238E27FC236}">
                  <a16:creationId xmlns:a16="http://schemas.microsoft.com/office/drawing/2014/main" id="{45A8EC2A-C2A6-40CB-B5D5-EC7CAE1416F0}"/>
                </a:ext>
              </a:extLst>
            </p:cNvPr>
            <p:cNvSpPr>
              <a:spLocks noChangeArrowheads="1"/>
            </p:cNvSpPr>
            <p:nvPr>
              <p:custDataLst>
                <p:tags r:id="rId4"/>
              </p:custDataLst>
            </p:nvPr>
          </p:nvSpPr>
          <p:spPr bwMode="gray">
            <a:xfrm>
              <a:off x="3566251" y="1538354"/>
              <a:ext cx="2880000" cy="1980000"/>
            </a:xfrm>
            <a:prstGeom prst="rect">
              <a:avLst/>
            </a:prstGeom>
            <a:solidFill>
              <a:schemeClr val="accent1"/>
            </a:solidFill>
            <a:ln w="12700">
              <a:solidFill>
                <a:schemeClr val="tx1"/>
              </a:solidFill>
              <a:miter lim="800000"/>
              <a:headEnd/>
              <a:tailEnd/>
            </a:ln>
            <a:effectLst/>
          </p:spPr>
          <p:txBody>
            <a:bodyPr wrap="none" lIns="90000" tIns="46800" rIns="90000" bIns="46800" anchor="ctr"/>
            <a:lstStyle/>
            <a:p>
              <a:pPr marL="0" marR="0" lvl="0" indent="0" algn="ctr" defTabSz="914400" rtl="0" fontAlgn="auto" latinLnBrk="0" hangingPunct="1">
                <a:lnSpc>
                  <a:spcPct val="100000"/>
                </a:lnSpc>
                <a:spcBef>
                  <a:spcPts val="0"/>
                </a:spcBef>
                <a:spcAft>
                  <a:spcPts val="0"/>
                </a:spcAft>
                <a:buClrTx/>
                <a:buSzTx/>
                <a:buFontTx/>
                <a:buNone/>
                <a:tabLst/>
                <a:defRPr/>
              </a:pPr>
              <a:r>
                <a:rPr kumimoji="0" lang="de-DE" sz="1600" b="1" i="0" u="none" strike="noStrike" kern="1200" cap="none" spc="0" normalizeH="0" baseline="0">
                  <a:ln>
                    <a:noFill/>
                  </a:ln>
                  <a:solidFill>
                    <a:srgbClr val="000000"/>
                  </a:solidFill>
                  <a:effectLst/>
                  <a:uLnTx/>
                  <a:uFillTx/>
                  <a:ea typeface="+mn-ea"/>
                  <a:cs typeface="+mn-cs"/>
                  <a:sym typeface="+mn-lt"/>
                </a:rPr>
                <a:t>Zufriedenstellen</a:t>
              </a:r>
            </a:p>
          </p:txBody>
        </p:sp>
        <p:sp>
          <p:nvSpPr>
            <p:cNvPr id="13" name="Rectangle 21">
              <a:extLst>
                <a:ext uri="{FF2B5EF4-FFF2-40B4-BE49-F238E27FC236}">
                  <a16:creationId xmlns:a16="http://schemas.microsoft.com/office/drawing/2014/main" id="{AB094A94-8235-4756-978E-0A6C9CD12452}"/>
                </a:ext>
              </a:extLst>
            </p:cNvPr>
            <p:cNvSpPr>
              <a:spLocks noChangeArrowheads="1"/>
            </p:cNvSpPr>
            <p:nvPr>
              <p:custDataLst>
                <p:tags r:id="rId5"/>
              </p:custDataLst>
            </p:nvPr>
          </p:nvSpPr>
          <p:spPr bwMode="gray">
            <a:xfrm>
              <a:off x="6446251" y="1538354"/>
              <a:ext cx="2880000" cy="1980000"/>
            </a:xfrm>
            <a:prstGeom prst="rect">
              <a:avLst/>
            </a:prstGeom>
            <a:solidFill>
              <a:schemeClr val="tx2"/>
            </a:solidFill>
            <a:ln w="12700">
              <a:solidFill>
                <a:schemeClr val="tx1"/>
              </a:solidFill>
              <a:miter lim="800000"/>
              <a:headEnd/>
              <a:tailEnd/>
            </a:ln>
            <a:effectLst/>
          </p:spPr>
          <p:txBody>
            <a:bodyPr wrap="none" lIns="90000" tIns="46800" rIns="90000" bIns="46800" anchor="ctr"/>
            <a:lstStyle/>
            <a:p>
              <a:pPr marL="0" marR="0" lvl="0" indent="0" algn="ctr" defTabSz="914400" rtl="0" fontAlgn="auto" latinLnBrk="0" hangingPunct="1">
                <a:lnSpc>
                  <a:spcPct val="100000"/>
                </a:lnSpc>
                <a:spcBef>
                  <a:spcPts val="0"/>
                </a:spcBef>
                <a:spcAft>
                  <a:spcPts val="0"/>
                </a:spcAft>
                <a:buClrTx/>
                <a:buSzTx/>
                <a:buFontTx/>
                <a:buNone/>
                <a:tabLst/>
                <a:defRPr/>
              </a:pPr>
              <a:r>
                <a:rPr kumimoji="0" lang="de-DE" sz="1600" b="1" i="0" u="none" strike="noStrike" kern="1200" cap="none" spc="0" normalizeH="0" baseline="0">
                  <a:ln>
                    <a:noFill/>
                  </a:ln>
                  <a:solidFill>
                    <a:schemeClr val="bg1"/>
                  </a:solidFill>
                  <a:effectLst/>
                  <a:uLnTx/>
                  <a:uFillTx/>
                  <a:ea typeface="+mn-ea"/>
                  <a:cs typeface="+mn-cs"/>
                  <a:sym typeface="+mn-lt"/>
                </a:rPr>
                <a:t>Managen</a:t>
              </a:r>
            </a:p>
          </p:txBody>
        </p:sp>
        <p:sp>
          <p:nvSpPr>
            <p:cNvPr id="15" name="Textplatzhalter 5">
              <a:extLst>
                <a:ext uri="{FF2B5EF4-FFF2-40B4-BE49-F238E27FC236}">
                  <a16:creationId xmlns:a16="http://schemas.microsoft.com/office/drawing/2014/main" id="{4CB6F23B-F721-4644-82BF-03B33CA64AF7}"/>
                </a:ext>
              </a:extLst>
            </p:cNvPr>
            <p:cNvSpPr txBox="1">
              <a:spLocks/>
            </p:cNvSpPr>
            <p:nvPr/>
          </p:nvSpPr>
          <p:spPr>
            <a:xfrm>
              <a:off x="3570685" y="5517726"/>
              <a:ext cx="2844000" cy="251795"/>
            </a:xfrm>
            <a:prstGeom prst="rect">
              <a:avLst/>
            </a:prstGeom>
          </p:spPr>
          <p:txBody>
            <a:bodyPr vert="horz" wrap="square" lIns="0" tIns="36000" rIns="0" bIns="0" rtlCol="0" anchor="t">
              <a:spAutoFit/>
            </a:bodyPr>
            <a:lstStyle>
              <a:lvl1pPr marL="0" indent="0" algn="l" defTabSz="914400" rtl="0" eaLnBrk="1" latinLnBrk="0" hangingPunct="1">
                <a:spcBef>
                  <a:spcPts val="0"/>
                </a:spcBef>
                <a:spcAft>
                  <a:spcPts val="0"/>
                </a:spcAft>
                <a:buFont typeface="Arial" pitchFamily="34" charset="0"/>
                <a:buNone/>
                <a:defRPr sz="1600" kern="1200">
                  <a:solidFill>
                    <a:schemeClr val="tx1"/>
                  </a:solidFill>
                  <a:latin typeface="+mn-lt"/>
                  <a:ea typeface="+mn-ea"/>
                  <a:cs typeface="+mn-cs"/>
                </a:defRPr>
              </a:lvl1pPr>
              <a:lvl2pPr marL="144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2pPr>
              <a:lvl3pPr marL="288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3pPr>
              <a:lvl4pPr marL="432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4pPr>
              <a:lvl5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5pPr>
              <a:lvl6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6pPr>
              <a:lvl7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7pPr>
              <a:lvl8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8pPr>
              <a:lvl9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9pPr>
            </a:lstStyle>
            <a:p>
              <a:r>
                <a:rPr lang="de-DE" sz="1400"/>
                <a:t>Niedrig</a:t>
              </a:r>
            </a:p>
          </p:txBody>
        </p:sp>
        <p:sp>
          <p:nvSpPr>
            <p:cNvPr id="16" name="Textplatzhalter 5">
              <a:extLst>
                <a:ext uri="{FF2B5EF4-FFF2-40B4-BE49-F238E27FC236}">
                  <a16:creationId xmlns:a16="http://schemas.microsoft.com/office/drawing/2014/main" id="{69D75087-9A72-4C55-8A19-73D3E8EB045F}"/>
                </a:ext>
              </a:extLst>
            </p:cNvPr>
            <p:cNvSpPr txBox="1">
              <a:spLocks/>
            </p:cNvSpPr>
            <p:nvPr/>
          </p:nvSpPr>
          <p:spPr>
            <a:xfrm>
              <a:off x="3594828" y="5517726"/>
              <a:ext cx="5713642" cy="282573"/>
            </a:xfrm>
            <a:prstGeom prst="rect">
              <a:avLst/>
            </a:prstGeom>
          </p:spPr>
          <p:txBody>
            <a:bodyPr vert="horz" wrap="square" lIns="0" tIns="36000" rIns="0" bIns="0" rtlCol="0" anchor="t">
              <a:spAutoFit/>
            </a:bodyPr>
            <a:lstStyle>
              <a:lvl1pPr marL="0" indent="0" algn="l" defTabSz="914400" rtl="0" eaLnBrk="1" latinLnBrk="0" hangingPunct="1">
                <a:spcBef>
                  <a:spcPts val="0"/>
                </a:spcBef>
                <a:spcAft>
                  <a:spcPts val="0"/>
                </a:spcAft>
                <a:buFont typeface="Arial" pitchFamily="34" charset="0"/>
                <a:buNone/>
                <a:defRPr sz="1600" kern="1200">
                  <a:solidFill>
                    <a:schemeClr val="tx1"/>
                  </a:solidFill>
                  <a:latin typeface="+mn-lt"/>
                  <a:ea typeface="+mn-ea"/>
                  <a:cs typeface="+mn-cs"/>
                </a:defRPr>
              </a:lvl1pPr>
              <a:lvl2pPr marL="144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2pPr>
              <a:lvl3pPr marL="288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3pPr>
              <a:lvl4pPr marL="432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4pPr>
              <a:lvl5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5pPr>
              <a:lvl6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6pPr>
              <a:lvl7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7pPr>
              <a:lvl8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8pPr>
              <a:lvl9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9pPr>
            </a:lstStyle>
            <a:p>
              <a:pPr algn="ctr"/>
              <a:r>
                <a:rPr lang="de-DE" b="1" dirty="0"/>
                <a:t>Unterstützung und Interesse am Projekt</a:t>
              </a:r>
            </a:p>
          </p:txBody>
        </p:sp>
        <p:sp>
          <p:nvSpPr>
            <p:cNvPr id="17" name="Textplatzhalter 5">
              <a:extLst>
                <a:ext uri="{FF2B5EF4-FFF2-40B4-BE49-F238E27FC236}">
                  <a16:creationId xmlns:a16="http://schemas.microsoft.com/office/drawing/2014/main" id="{82851BF2-E365-43F7-8AE2-1E95F0A0E9C1}"/>
                </a:ext>
              </a:extLst>
            </p:cNvPr>
            <p:cNvSpPr txBox="1">
              <a:spLocks/>
            </p:cNvSpPr>
            <p:nvPr/>
          </p:nvSpPr>
          <p:spPr>
            <a:xfrm>
              <a:off x="2950865" y="1538355"/>
              <a:ext cx="574473" cy="251795"/>
            </a:xfrm>
            <a:prstGeom prst="rect">
              <a:avLst/>
            </a:prstGeom>
          </p:spPr>
          <p:txBody>
            <a:bodyPr vert="horz" wrap="square" lIns="0" tIns="36000" rIns="0" bIns="0" rtlCol="0" anchor="ctr">
              <a:spAutoFit/>
            </a:bodyPr>
            <a:lstStyle>
              <a:lvl1pPr marL="0" indent="0" algn="l" defTabSz="914400" rtl="0" eaLnBrk="1" latinLnBrk="0" hangingPunct="1">
                <a:spcBef>
                  <a:spcPts val="0"/>
                </a:spcBef>
                <a:spcAft>
                  <a:spcPts val="0"/>
                </a:spcAft>
                <a:buFont typeface="Arial" pitchFamily="34" charset="0"/>
                <a:buNone/>
                <a:defRPr sz="1600" kern="1200">
                  <a:solidFill>
                    <a:schemeClr val="tx1"/>
                  </a:solidFill>
                  <a:latin typeface="+mn-lt"/>
                  <a:ea typeface="+mn-ea"/>
                  <a:cs typeface="+mn-cs"/>
                </a:defRPr>
              </a:lvl1pPr>
              <a:lvl2pPr marL="144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2pPr>
              <a:lvl3pPr marL="288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3pPr>
              <a:lvl4pPr marL="432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4pPr>
              <a:lvl5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5pPr>
              <a:lvl6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6pPr>
              <a:lvl7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7pPr>
              <a:lvl8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8pPr>
              <a:lvl9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9pPr>
            </a:lstStyle>
            <a:p>
              <a:pPr algn="r"/>
              <a:r>
                <a:rPr lang="de-DE" sz="1400" dirty="0"/>
                <a:t>Hoch</a:t>
              </a:r>
            </a:p>
          </p:txBody>
        </p:sp>
        <p:sp>
          <p:nvSpPr>
            <p:cNvPr id="18" name="Textplatzhalter 5">
              <a:extLst>
                <a:ext uri="{FF2B5EF4-FFF2-40B4-BE49-F238E27FC236}">
                  <a16:creationId xmlns:a16="http://schemas.microsoft.com/office/drawing/2014/main" id="{E1FC6F48-4333-47AA-A669-6236954C1993}"/>
                </a:ext>
              </a:extLst>
            </p:cNvPr>
            <p:cNvSpPr txBox="1">
              <a:spLocks/>
            </p:cNvSpPr>
            <p:nvPr/>
          </p:nvSpPr>
          <p:spPr>
            <a:xfrm>
              <a:off x="2950866" y="5246914"/>
              <a:ext cx="574473" cy="251795"/>
            </a:xfrm>
            <a:prstGeom prst="rect">
              <a:avLst/>
            </a:prstGeom>
          </p:spPr>
          <p:txBody>
            <a:bodyPr vert="horz" wrap="square" lIns="0" tIns="36000" rIns="0" bIns="0" rtlCol="0" anchor="ctr">
              <a:spAutoFit/>
            </a:bodyPr>
            <a:lstStyle>
              <a:lvl1pPr marL="0" indent="0" algn="l" defTabSz="914400" rtl="0" eaLnBrk="1" latinLnBrk="0" hangingPunct="1">
                <a:spcBef>
                  <a:spcPts val="0"/>
                </a:spcBef>
                <a:spcAft>
                  <a:spcPts val="0"/>
                </a:spcAft>
                <a:buFont typeface="Arial" pitchFamily="34" charset="0"/>
                <a:buNone/>
                <a:defRPr sz="1600" kern="1200">
                  <a:solidFill>
                    <a:schemeClr val="tx1"/>
                  </a:solidFill>
                  <a:latin typeface="+mn-lt"/>
                  <a:ea typeface="+mn-ea"/>
                  <a:cs typeface="+mn-cs"/>
                </a:defRPr>
              </a:lvl1pPr>
              <a:lvl2pPr marL="144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2pPr>
              <a:lvl3pPr marL="288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3pPr>
              <a:lvl4pPr marL="432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4pPr>
              <a:lvl5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5pPr>
              <a:lvl6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6pPr>
              <a:lvl7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7pPr>
              <a:lvl8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8pPr>
              <a:lvl9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9pPr>
            </a:lstStyle>
            <a:p>
              <a:pPr algn="r"/>
              <a:r>
                <a:rPr lang="de-DE" sz="1400" dirty="0"/>
                <a:t>Niedrig</a:t>
              </a:r>
            </a:p>
          </p:txBody>
        </p:sp>
        <p:sp>
          <p:nvSpPr>
            <p:cNvPr id="20" name="Textplatzhalter 5">
              <a:extLst>
                <a:ext uri="{FF2B5EF4-FFF2-40B4-BE49-F238E27FC236}">
                  <a16:creationId xmlns:a16="http://schemas.microsoft.com/office/drawing/2014/main" id="{DBE3531E-0E60-4BE6-AEDF-F5E93C638815}"/>
                </a:ext>
              </a:extLst>
            </p:cNvPr>
            <p:cNvSpPr txBox="1">
              <a:spLocks/>
            </p:cNvSpPr>
            <p:nvPr/>
          </p:nvSpPr>
          <p:spPr>
            <a:xfrm>
              <a:off x="6482251" y="5517726"/>
              <a:ext cx="2844000" cy="251795"/>
            </a:xfrm>
            <a:prstGeom prst="rect">
              <a:avLst/>
            </a:prstGeom>
          </p:spPr>
          <p:txBody>
            <a:bodyPr vert="horz" wrap="square" lIns="0" tIns="36000" rIns="0" bIns="0" rtlCol="0" anchor="t">
              <a:spAutoFit/>
            </a:bodyPr>
            <a:lstStyle>
              <a:lvl1pPr marL="0" indent="0" algn="l" defTabSz="914400" rtl="0" eaLnBrk="1" latinLnBrk="0" hangingPunct="1">
                <a:spcBef>
                  <a:spcPts val="0"/>
                </a:spcBef>
                <a:spcAft>
                  <a:spcPts val="0"/>
                </a:spcAft>
                <a:buFont typeface="Arial" pitchFamily="34" charset="0"/>
                <a:buNone/>
                <a:defRPr sz="1600" kern="1200">
                  <a:solidFill>
                    <a:schemeClr val="tx1"/>
                  </a:solidFill>
                  <a:latin typeface="+mn-lt"/>
                  <a:ea typeface="+mn-ea"/>
                  <a:cs typeface="+mn-cs"/>
                </a:defRPr>
              </a:lvl1pPr>
              <a:lvl2pPr marL="144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2pPr>
              <a:lvl3pPr marL="288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3pPr>
              <a:lvl4pPr marL="432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4pPr>
              <a:lvl5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5pPr>
              <a:lvl6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6pPr>
              <a:lvl7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7pPr>
              <a:lvl8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8pPr>
              <a:lvl9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9pPr>
            </a:lstStyle>
            <a:p>
              <a:pPr algn="r"/>
              <a:r>
                <a:rPr lang="de-DE" sz="1400" dirty="0"/>
                <a:t>Hoch</a:t>
              </a:r>
            </a:p>
          </p:txBody>
        </p:sp>
      </p:grpSp>
    </p:spTree>
    <p:extLst>
      <p:ext uri="{BB962C8B-B14F-4D97-AF65-F5344CB8AC3E}">
        <p14:creationId xmlns:p14="http://schemas.microsoft.com/office/powerpoint/2010/main" val="230309761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1" name="Objekt 30" hidden="1">
            <a:extLst>
              <a:ext uri="{FF2B5EF4-FFF2-40B4-BE49-F238E27FC236}">
                <a16:creationId xmlns:a16="http://schemas.microsoft.com/office/drawing/2014/main" id="{3D9B2E00-0D9D-47B7-9ECB-2303B440D185}"/>
              </a:ext>
            </a:extLst>
          </p:cNvPr>
          <p:cNvGraphicFramePr>
            <a:graphicFrameLocks noChangeAspect="1"/>
          </p:cNvGraphicFramePr>
          <p:nvPr>
            <p:custDataLst>
              <p:tags r:id="rId1"/>
            </p:custDataLst>
            <p:extLst>
              <p:ext uri="{D42A27DB-BD31-4B8C-83A1-F6EECF244321}">
                <p14:modId xmlns:p14="http://schemas.microsoft.com/office/powerpoint/2010/main" val="41908038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6" progId="TCLayout.ActiveDocument.1">
                  <p:embed/>
                </p:oleObj>
              </mc:Choice>
              <mc:Fallback>
                <p:oleObj name="think-cell Folie" r:id="rId3" imgW="425" imgH="426" progId="TCLayout.ActiveDocument.1">
                  <p:embed/>
                  <p:pic>
                    <p:nvPicPr>
                      <p:cNvPr id="31" name="Objekt 30" hidden="1">
                        <a:extLst>
                          <a:ext uri="{FF2B5EF4-FFF2-40B4-BE49-F238E27FC236}">
                            <a16:creationId xmlns:a16="http://schemas.microsoft.com/office/drawing/2014/main" id="{3D9B2E00-0D9D-47B7-9ECB-2303B440D18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0F9A439D-7CAC-44B9-A1C0-F9AC7E569A41}"/>
              </a:ext>
            </a:extLst>
          </p:cNvPr>
          <p:cNvSpPr>
            <a:spLocks noGrp="1"/>
          </p:cNvSpPr>
          <p:nvPr>
            <p:ph type="title"/>
          </p:nvPr>
        </p:nvSpPr>
        <p:spPr/>
        <p:txBody>
          <a:bodyPr vert="horz"/>
          <a:lstStyle/>
          <a:p>
            <a:r>
              <a:rPr lang="de-DE" dirty="0"/>
              <a:t>Projektkapazitäten</a:t>
            </a:r>
          </a:p>
        </p:txBody>
      </p:sp>
      <p:grpSp>
        <p:nvGrpSpPr>
          <p:cNvPr id="51" name="Gruppieren 50">
            <a:extLst>
              <a:ext uri="{FF2B5EF4-FFF2-40B4-BE49-F238E27FC236}">
                <a16:creationId xmlns:a16="http://schemas.microsoft.com/office/drawing/2014/main" id="{0AEC8BDC-D1DD-471D-A174-275105E49025}"/>
              </a:ext>
            </a:extLst>
          </p:cNvPr>
          <p:cNvGrpSpPr/>
          <p:nvPr/>
        </p:nvGrpSpPr>
        <p:grpSpPr>
          <a:xfrm>
            <a:off x="1596000" y="1605445"/>
            <a:ext cx="9000001" cy="4067183"/>
            <a:chOff x="334962" y="1605445"/>
            <a:chExt cx="9000001" cy="4067183"/>
          </a:xfrm>
        </p:grpSpPr>
        <p:sp>
          <p:nvSpPr>
            <p:cNvPr id="5" name="Rechteck 4">
              <a:extLst>
                <a:ext uri="{FF2B5EF4-FFF2-40B4-BE49-F238E27FC236}">
                  <a16:creationId xmlns:a16="http://schemas.microsoft.com/office/drawing/2014/main" id="{F9AD3294-70A9-4AA9-99E2-A95600E6D7F4}"/>
                </a:ext>
              </a:extLst>
            </p:cNvPr>
            <p:cNvSpPr/>
            <p:nvPr/>
          </p:nvSpPr>
          <p:spPr>
            <a:xfrm>
              <a:off x="334962" y="1605445"/>
              <a:ext cx="9000000" cy="288000"/>
            </a:xfrm>
            <a:prstGeom prst="rect">
              <a:avLst/>
            </a:prstGeom>
            <a:solidFill>
              <a:schemeClr val="tx2"/>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lang="de-DE" sz="1600" b="1" dirty="0">
                  <a:solidFill>
                    <a:schemeClr val="bg1"/>
                  </a:solidFill>
                </a:rPr>
                <a:t>Steuerkreis</a:t>
              </a:r>
            </a:p>
          </p:txBody>
        </p:sp>
        <p:sp>
          <p:nvSpPr>
            <p:cNvPr id="6" name="Rechteck 5">
              <a:extLst>
                <a:ext uri="{FF2B5EF4-FFF2-40B4-BE49-F238E27FC236}">
                  <a16:creationId xmlns:a16="http://schemas.microsoft.com/office/drawing/2014/main" id="{11FE4F3E-3FD3-4923-9E9F-202804721750}"/>
                </a:ext>
              </a:extLst>
            </p:cNvPr>
            <p:cNvSpPr/>
            <p:nvPr/>
          </p:nvSpPr>
          <p:spPr>
            <a:xfrm>
              <a:off x="334962" y="1893445"/>
              <a:ext cx="9000000" cy="540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2" spcCol="0" rtlCol="0" fromWordArt="0" anchor="t" anchorCtr="0" forceAA="0" compatLnSpc="1">
              <a:prstTxWarp prst="textNoShape">
                <a:avLst/>
              </a:prstTxWarp>
              <a:noAutofit/>
            </a:bodyPr>
            <a:lstStyle/>
            <a:p>
              <a:r>
                <a:rPr lang="de-DE" sz="1400" u="sng" dirty="0">
                  <a:solidFill>
                    <a:schemeClr val="tx1"/>
                  </a:solidFill>
                </a:rPr>
                <a:t>Dr. Gerhard Haupt</a:t>
              </a:r>
            </a:p>
            <a:p>
              <a:r>
                <a:rPr lang="de-DE" sz="1400" dirty="0">
                  <a:solidFill>
                    <a:schemeClr val="tx1"/>
                  </a:solidFill>
                </a:rPr>
                <a:t>Timo Lange</a:t>
              </a:r>
            </a:p>
            <a:p>
              <a:r>
                <a:rPr lang="de-DE" sz="1400" dirty="0">
                  <a:solidFill>
                    <a:schemeClr val="tx1"/>
                  </a:solidFill>
                </a:rPr>
                <a:t>Franziska Simoneit </a:t>
              </a:r>
            </a:p>
            <a:p>
              <a:r>
                <a:rPr lang="de-DE" sz="1400" dirty="0">
                  <a:solidFill>
                    <a:schemeClr val="tx1"/>
                  </a:solidFill>
                </a:rPr>
                <a:t>Mareike Volkers </a:t>
              </a:r>
            </a:p>
          </p:txBody>
        </p:sp>
        <p:sp>
          <p:nvSpPr>
            <p:cNvPr id="8" name="Rechteck 7">
              <a:extLst>
                <a:ext uri="{FF2B5EF4-FFF2-40B4-BE49-F238E27FC236}">
                  <a16:creationId xmlns:a16="http://schemas.microsoft.com/office/drawing/2014/main" id="{14E0F98E-B118-4E41-8A8E-B3B10A4F86C0}"/>
                </a:ext>
              </a:extLst>
            </p:cNvPr>
            <p:cNvSpPr/>
            <p:nvPr/>
          </p:nvSpPr>
          <p:spPr>
            <a:xfrm>
              <a:off x="334963" y="2757037"/>
              <a:ext cx="9000000" cy="288000"/>
            </a:xfrm>
            <a:prstGeom prst="rect">
              <a:avLst/>
            </a:prstGeom>
            <a:solidFill>
              <a:schemeClr val="tx2"/>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lang="de-DE" sz="1600" b="1" dirty="0">
                  <a:solidFill>
                    <a:schemeClr val="bg1"/>
                  </a:solidFill>
                </a:rPr>
                <a:t>Projektleitung</a:t>
              </a:r>
            </a:p>
          </p:txBody>
        </p:sp>
        <p:sp>
          <p:nvSpPr>
            <p:cNvPr id="9" name="Rechteck 8">
              <a:extLst>
                <a:ext uri="{FF2B5EF4-FFF2-40B4-BE49-F238E27FC236}">
                  <a16:creationId xmlns:a16="http://schemas.microsoft.com/office/drawing/2014/main" id="{F0516FA3-2B86-44DD-BFE2-D25D39112F3A}"/>
                </a:ext>
              </a:extLst>
            </p:cNvPr>
            <p:cNvSpPr/>
            <p:nvPr/>
          </p:nvSpPr>
          <p:spPr>
            <a:xfrm>
              <a:off x="334963" y="3045899"/>
              <a:ext cx="9000000" cy="28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2" spcCol="0" rtlCol="0" fromWordArt="0" anchor="t" anchorCtr="0" forceAA="0" compatLnSpc="1">
              <a:prstTxWarp prst="textNoShape">
                <a:avLst/>
              </a:prstTxWarp>
              <a:noAutofit/>
            </a:bodyPr>
            <a:lstStyle/>
            <a:p>
              <a:r>
                <a:rPr lang="de-DE" sz="1400" u="sng" dirty="0">
                  <a:solidFill>
                    <a:schemeClr val="tx1"/>
                  </a:solidFill>
                </a:rPr>
                <a:t>Robert Mayer (100%)</a:t>
              </a:r>
            </a:p>
          </p:txBody>
        </p:sp>
        <p:cxnSp>
          <p:nvCxnSpPr>
            <p:cNvPr id="10" name="Gerader Verbinder 9">
              <a:extLst>
                <a:ext uri="{FF2B5EF4-FFF2-40B4-BE49-F238E27FC236}">
                  <a16:creationId xmlns:a16="http://schemas.microsoft.com/office/drawing/2014/main" id="{77C9B266-2BA0-4FF0-9A18-77A19FCF742A}"/>
                </a:ext>
              </a:extLst>
            </p:cNvPr>
            <p:cNvCxnSpPr>
              <a:cxnSpLocks/>
              <a:stCxn id="6" idx="2"/>
              <a:endCxn id="8" idx="0"/>
            </p:cNvCxnSpPr>
            <p:nvPr/>
          </p:nvCxnSpPr>
          <p:spPr>
            <a:xfrm>
              <a:off x="4834962" y="2433445"/>
              <a:ext cx="1" cy="323592"/>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Rechteck 11">
              <a:extLst>
                <a:ext uri="{FF2B5EF4-FFF2-40B4-BE49-F238E27FC236}">
                  <a16:creationId xmlns:a16="http://schemas.microsoft.com/office/drawing/2014/main" id="{65C3EDC4-5379-417B-B141-7ACEABFCE9D0}"/>
                </a:ext>
              </a:extLst>
            </p:cNvPr>
            <p:cNvSpPr/>
            <p:nvPr/>
          </p:nvSpPr>
          <p:spPr>
            <a:xfrm>
              <a:off x="334963" y="3728628"/>
              <a:ext cx="2160000" cy="504000"/>
            </a:xfrm>
            <a:prstGeom prst="rect">
              <a:avLst/>
            </a:prstGeom>
            <a:solidFill>
              <a:schemeClr val="tx2"/>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lang="de-DE" sz="1600" b="1" dirty="0">
                  <a:solidFill>
                    <a:schemeClr val="bg1"/>
                  </a:solidFill>
                </a:rPr>
                <a:t>Communication &amp; Change</a:t>
              </a:r>
            </a:p>
          </p:txBody>
        </p:sp>
        <p:sp>
          <p:nvSpPr>
            <p:cNvPr id="13" name="Rechteck 12">
              <a:extLst>
                <a:ext uri="{FF2B5EF4-FFF2-40B4-BE49-F238E27FC236}">
                  <a16:creationId xmlns:a16="http://schemas.microsoft.com/office/drawing/2014/main" id="{D93DD20C-C0FC-4CC3-ABD4-958CCE2447EB}"/>
                </a:ext>
              </a:extLst>
            </p:cNvPr>
            <p:cNvSpPr/>
            <p:nvPr/>
          </p:nvSpPr>
          <p:spPr>
            <a:xfrm>
              <a:off x="334963" y="4232628"/>
              <a:ext cx="2160000" cy="1440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r>
                <a:rPr lang="de-DE" sz="1400" u="sng" dirty="0">
                  <a:solidFill>
                    <a:schemeClr val="tx1"/>
                  </a:solidFill>
                </a:rPr>
                <a:t>Tobias Schmied (40%)</a:t>
              </a:r>
            </a:p>
            <a:p>
              <a:r>
                <a:rPr lang="de-DE" sz="1400" dirty="0">
                  <a:solidFill>
                    <a:schemeClr val="tx1"/>
                  </a:solidFill>
                </a:rPr>
                <a:t>Anne Vogt (60%)</a:t>
              </a:r>
            </a:p>
          </p:txBody>
        </p:sp>
        <p:sp>
          <p:nvSpPr>
            <p:cNvPr id="15" name="Rechteck 14">
              <a:extLst>
                <a:ext uri="{FF2B5EF4-FFF2-40B4-BE49-F238E27FC236}">
                  <a16:creationId xmlns:a16="http://schemas.microsoft.com/office/drawing/2014/main" id="{0720A133-C63B-48E5-A761-622C4DA3093B}"/>
                </a:ext>
              </a:extLst>
            </p:cNvPr>
            <p:cNvSpPr/>
            <p:nvPr/>
          </p:nvSpPr>
          <p:spPr>
            <a:xfrm>
              <a:off x="7174962" y="3728628"/>
              <a:ext cx="2160000" cy="504000"/>
            </a:xfrm>
            <a:prstGeom prst="rect">
              <a:avLst/>
            </a:prstGeom>
            <a:solidFill>
              <a:schemeClr val="tx2"/>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lang="de-DE" sz="1600" b="1" dirty="0">
                  <a:solidFill>
                    <a:schemeClr val="bg1"/>
                  </a:solidFill>
                </a:rPr>
                <a:t>TP 2: E-Commerce</a:t>
              </a:r>
            </a:p>
          </p:txBody>
        </p:sp>
        <p:sp>
          <p:nvSpPr>
            <p:cNvPr id="16" name="Rechteck 15">
              <a:extLst>
                <a:ext uri="{FF2B5EF4-FFF2-40B4-BE49-F238E27FC236}">
                  <a16:creationId xmlns:a16="http://schemas.microsoft.com/office/drawing/2014/main" id="{233D4221-04C9-4B94-B949-C90DAEF8AFFB}"/>
                </a:ext>
              </a:extLst>
            </p:cNvPr>
            <p:cNvSpPr/>
            <p:nvPr/>
          </p:nvSpPr>
          <p:spPr>
            <a:xfrm>
              <a:off x="7174962" y="4232628"/>
              <a:ext cx="2160000" cy="1440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r>
                <a:rPr lang="de-DE" sz="1400" u="sng" dirty="0">
                  <a:solidFill>
                    <a:schemeClr val="tx1"/>
                  </a:solidFill>
                </a:rPr>
                <a:t>Alexa Schmid (100%)</a:t>
              </a:r>
            </a:p>
            <a:p>
              <a:r>
                <a:rPr lang="de-DE" sz="1400" dirty="0">
                  <a:solidFill>
                    <a:schemeClr val="tx1"/>
                  </a:solidFill>
                </a:rPr>
                <a:t>Thomas Horn (80%)</a:t>
              </a:r>
            </a:p>
            <a:p>
              <a:r>
                <a:rPr lang="de-DE" sz="1400" dirty="0">
                  <a:solidFill>
                    <a:schemeClr val="tx1"/>
                  </a:solidFill>
                </a:rPr>
                <a:t>N.N. (100%)</a:t>
              </a:r>
            </a:p>
            <a:p>
              <a:endParaRPr lang="de-DE" sz="1400" dirty="0">
                <a:solidFill>
                  <a:schemeClr val="tx1"/>
                </a:solidFill>
              </a:endParaRPr>
            </a:p>
          </p:txBody>
        </p:sp>
        <p:sp>
          <p:nvSpPr>
            <p:cNvPr id="18" name="Rechteck 17">
              <a:extLst>
                <a:ext uri="{FF2B5EF4-FFF2-40B4-BE49-F238E27FC236}">
                  <a16:creationId xmlns:a16="http://schemas.microsoft.com/office/drawing/2014/main" id="{C8358AC8-2A02-48DB-A431-C99CA3C54F17}"/>
                </a:ext>
              </a:extLst>
            </p:cNvPr>
            <p:cNvSpPr/>
            <p:nvPr/>
          </p:nvSpPr>
          <p:spPr>
            <a:xfrm>
              <a:off x="4894963" y="3728628"/>
              <a:ext cx="2160000" cy="504000"/>
            </a:xfrm>
            <a:prstGeom prst="rect">
              <a:avLst/>
            </a:prstGeom>
            <a:solidFill>
              <a:schemeClr val="tx2"/>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lang="de-DE" sz="1600" b="1" dirty="0">
                  <a:solidFill>
                    <a:schemeClr val="bg1"/>
                  </a:solidFill>
                </a:rPr>
                <a:t>TP 1: Filialnetz</a:t>
              </a:r>
            </a:p>
          </p:txBody>
        </p:sp>
        <p:sp>
          <p:nvSpPr>
            <p:cNvPr id="19" name="Rechteck 18">
              <a:extLst>
                <a:ext uri="{FF2B5EF4-FFF2-40B4-BE49-F238E27FC236}">
                  <a16:creationId xmlns:a16="http://schemas.microsoft.com/office/drawing/2014/main" id="{D298B2CA-C7E5-4DBB-AECA-5C4D5A26DDD8}"/>
                </a:ext>
              </a:extLst>
            </p:cNvPr>
            <p:cNvSpPr/>
            <p:nvPr/>
          </p:nvSpPr>
          <p:spPr>
            <a:xfrm>
              <a:off x="4894963" y="4232628"/>
              <a:ext cx="2160000" cy="1440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r>
                <a:rPr lang="de-DE" sz="1400" u="sng" dirty="0">
                  <a:solidFill>
                    <a:schemeClr val="tx1"/>
                  </a:solidFill>
                </a:rPr>
                <a:t>Maike Hinsch (100%)</a:t>
              </a:r>
            </a:p>
            <a:p>
              <a:r>
                <a:rPr lang="de-DE" sz="1400" dirty="0">
                  <a:solidFill>
                    <a:schemeClr val="tx1"/>
                  </a:solidFill>
                </a:rPr>
                <a:t>Helge Wolters (100%)</a:t>
              </a:r>
            </a:p>
            <a:p>
              <a:r>
                <a:rPr lang="de-DE" sz="1400" dirty="0">
                  <a:solidFill>
                    <a:schemeClr val="tx1"/>
                  </a:solidFill>
                </a:rPr>
                <a:t>N.N. (100%)</a:t>
              </a:r>
            </a:p>
          </p:txBody>
        </p:sp>
        <p:cxnSp>
          <p:nvCxnSpPr>
            <p:cNvPr id="20" name="Verbinder: gewinkelt 19">
              <a:extLst>
                <a:ext uri="{FF2B5EF4-FFF2-40B4-BE49-F238E27FC236}">
                  <a16:creationId xmlns:a16="http://schemas.microsoft.com/office/drawing/2014/main" id="{179D8A26-5FDD-437E-AC90-06032E3B4001}"/>
                </a:ext>
              </a:extLst>
            </p:cNvPr>
            <p:cNvCxnSpPr>
              <a:stCxn id="9" idx="2"/>
              <a:endCxn id="12" idx="0"/>
            </p:cNvCxnSpPr>
            <p:nvPr/>
          </p:nvCxnSpPr>
          <p:spPr>
            <a:xfrm rot="5400000">
              <a:off x="2927599" y="1821263"/>
              <a:ext cx="394729" cy="3420000"/>
            </a:xfrm>
            <a:prstGeom prst="bentConnector3">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 name="Verbinder: gewinkelt 20">
              <a:extLst>
                <a:ext uri="{FF2B5EF4-FFF2-40B4-BE49-F238E27FC236}">
                  <a16:creationId xmlns:a16="http://schemas.microsoft.com/office/drawing/2014/main" id="{7B38F31A-48D0-43FA-A65D-F3165AF04DC1}"/>
                </a:ext>
              </a:extLst>
            </p:cNvPr>
            <p:cNvCxnSpPr>
              <a:cxnSpLocks/>
              <a:stCxn id="9" idx="2"/>
              <a:endCxn id="15" idx="0"/>
            </p:cNvCxnSpPr>
            <p:nvPr/>
          </p:nvCxnSpPr>
          <p:spPr>
            <a:xfrm rot="16200000" flipH="1">
              <a:off x="6347598" y="1821263"/>
              <a:ext cx="394729" cy="3419999"/>
            </a:xfrm>
            <a:prstGeom prst="bentConnector3">
              <a:avLst>
                <a:gd name="adj1" fmla="val 50000"/>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43" name="Rechteck 42">
              <a:extLst>
                <a:ext uri="{FF2B5EF4-FFF2-40B4-BE49-F238E27FC236}">
                  <a16:creationId xmlns:a16="http://schemas.microsoft.com/office/drawing/2014/main" id="{D63B20A8-57E6-4198-9539-65B23B0E021F}"/>
                </a:ext>
              </a:extLst>
            </p:cNvPr>
            <p:cNvSpPr/>
            <p:nvPr/>
          </p:nvSpPr>
          <p:spPr>
            <a:xfrm>
              <a:off x="2614963" y="3728628"/>
              <a:ext cx="2160000" cy="504000"/>
            </a:xfrm>
            <a:prstGeom prst="rect">
              <a:avLst/>
            </a:prstGeom>
            <a:solidFill>
              <a:schemeClr val="tx2"/>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lang="de-DE" sz="1600" b="1" dirty="0">
                  <a:solidFill>
                    <a:schemeClr val="bg1"/>
                  </a:solidFill>
                </a:rPr>
                <a:t>PMO</a:t>
              </a:r>
            </a:p>
          </p:txBody>
        </p:sp>
        <p:sp>
          <p:nvSpPr>
            <p:cNvPr id="44" name="Rechteck 43">
              <a:extLst>
                <a:ext uri="{FF2B5EF4-FFF2-40B4-BE49-F238E27FC236}">
                  <a16:creationId xmlns:a16="http://schemas.microsoft.com/office/drawing/2014/main" id="{10BC52E2-8000-4CE2-9B81-7E157E773C1D}"/>
                </a:ext>
              </a:extLst>
            </p:cNvPr>
            <p:cNvSpPr/>
            <p:nvPr/>
          </p:nvSpPr>
          <p:spPr>
            <a:xfrm>
              <a:off x="2614963" y="4232628"/>
              <a:ext cx="2160000" cy="1440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r>
                <a:rPr lang="de-DE" sz="1400" u="sng" dirty="0">
                  <a:solidFill>
                    <a:schemeClr val="tx1"/>
                  </a:solidFill>
                </a:rPr>
                <a:t>Chris Grohe (60%)</a:t>
              </a:r>
            </a:p>
            <a:p>
              <a:r>
                <a:rPr lang="de-DE" sz="1400" dirty="0">
                  <a:solidFill>
                    <a:schemeClr val="tx1"/>
                  </a:solidFill>
                </a:rPr>
                <a:t>N.N. (100%)</a:t>
              </a:r>
            </a:p>
          </p:txBody>
        </p:sp>
        <p:cxnSp>
          <p:nvCxnSpPr>
            <p:cNvPr id="45" name="Verbinder: gewinkelt 44">
              <a:extLst>
                <a:ext uri="{FF2B5EF4-FFF2-40B4-BE49-F238E27FC236}">
                  <a16:creationId xmlns:a16="http://schemas.microsoft.com/office/drawing/2014/main" id="{6B6D72C5-4ADD-4EFD-AA8E-F4C20A485100}"/>
                </a:ext>
              </a:extLst>
            </p:cNvPr>
            <p:cNvCxnSpPr>
              <a:cxnSpLocks/>
              <a:stCxn id="9" idx="2"/>
              <a:endCxn id="43" idx="0"/>
            </p:cNvCxnSpPr>
            <p:nvPr/>
          </p:nvCxnSpPr>
          <p:spPr>
            <a:xfrm rot="5400000">
              <a:off x="4067599" y="2961263"/>
              <a:ext cx="394729" cy="1140000"/>
            </a:xfrm>
            <a:prstGeom prst="bentConnector3">
              <a:avLst>
                <a:gd name="adj1" fmla="val 50000"/>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8" name="Verbinder: gewinkelt 47">
              <a:extLst>
                <a:ext uri="{FF2B5EF4-FFF2-40B4-BE49-F238E27FC236}">
                  <a16:creationId xmlns:a16="http://schemas.microsoft.com/office/drawing/2014/main" id="{5E929CB5-10B0-46DF-A7EE-32CD5B3F37D7}"/>
                </a:ext>
              </a:extLst>
            </p:cNvPr>
            <p:cNvCxnSpPr>
              <a:cxnSpLocks/>
              <a:stCxn id="9" idx="2"/>
              <a:endCxn id="18" idx="0"/>
            </p:cNvCxnSpPr>
            <p:nvPr/>
          </p:nvCxnSpPr>
          <p:spPr>
            <a:xfrm rot="16200000" flipH="1">
              <a:off x="5207599" y="2961263"/>
              <a:ext cx="394729" cy="1140000"/>
            </a:xfrm>
            <a:prstGeom prst="bentConnector3">
              <a:avLst>
                <a:gd name="adj1" fmla="val 50000"/>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25" name="Rechteck 24">
            <a:extLst>
              <a:ext uri="{FF2B5EF4-FFF2-40B4-BE49-F238E27FC236}">
                <a16:creationId xmlns:a16="http://schemas.microsoft.com/office/drawing/2014/main" id="{9474EAB3-6FD7-4F46-B638-110096C7C423}"/>
              </a:ext>
            </a:extLst>
          </p:cNvPr>
          <p:cNvSpPr/>
          <p:nvPr/>
        </p:nvSpPr>
        <p:spPr>
          <a:xfrm>
            <a:off x="10954961" y="69705"/>
            <a:ext cx="900000" cy="252000"/>
          </a:xfrm>
          <a:prstGeom prst="rect">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b="1" dirty="0"/>
              <a:t>Entwurf</a:t>
            </a:r>
          </a:p>
        </p:txBody>
      </p:sp>
      <p:sp>
        <p:nvSpPr>
          <p:cNvPr id="27" name="Textfeld 26">
            <a:extLst>
              <a:ext uri="{FF2B5EF4-FFF2-40B4-BE49-F238E27FC236}">
                <a16:creationId xmlns:a16="http://schemas.microsoft.com/office/drawing/2014/main" id="{9C440D3C-B5EC-443F-A585-CDA888535F8F}"/>
              </a:ext>
            </a:extLst>
          </p:cNvPr>
          <p:cNvSpPr txBox="1"/>
          <p:nvPr/>
        </p:nvSpPr>
        <p:spPr>
          <a:xfrm>
            <a:off x="334963" y="6544666"/>
            <a:ext cx="1380506" cy="215444"/>
          </a:xfrm>
          <a:prstGeom prst="rect">
            <a:avLst/>
          </a:prstGeom>
          <a:noFill/>
        </p:spPr>
        <p:txBody>
          <a:bodyPr wrap="none" rtlCol="0" anchor="b">
            <a:spAutoFit/>
          </a:bodyPr>
          <a:lstStyle/>
          <a:p>
            <a:r>
              <a:rPr lang="de-DE" sz="800" dirty="0"/>
              <a:t>Quelle: Projektteam Phönix</a:t>
            </a:r>
          </a:p>
        </p:txBody>
      </p:sp>
    </p:spTree>
    <p:extLst>
      <p:ext uri="{BB962C8B-B14F-4D97-AF65-F5344CB8AC3E}">
        <p14:creationId xmlns:p14="http://schemas.microsoft.com/office/powerpoint/2010/main" val="237101544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7037&quot;&gt;&lt;version val=&quot;30820&quot;/&gt;&lt;CPresentation id=&quot;1&quot;&gt;&lt;m_precDefaultNumber&gt;&lt;m_yearfmt&gt;&lt;begin val=&quot;0&quot;/&gt;&lt;end val=&quot;4&quot;/&gt;&lt;/m_yearfmt&gt;&lt;/m_precDefaultNumber&gt;&lt;m_precDefaultPercent&gt;&lt;m_yearfmt&gt;&lt;begin val=&quot;0&quot;/&gt;&lt;end val=&quot;4&quot;/&gt;&lt;/m_yearfmt&gt;&lt;/m_precDefaultPercent&gt;&lt;m_precDefaultDate&gt;&lt;m_yearfmt&gt;&lt;begin val=&quot;0&quot;/&gt;&lt;end val=&quot;4&quot;/&gt;&lt;/m_yearfmt&gt;&lt;/m_precDefaultDate&gt;&lt;m_precDefaultYear&gt;&lt;m_yearfmt&gt;&lt;begin val=&quot;0&quot;/&gt;&lt;end val=&quot;4&quot;/&gt;&lt;/m_yearfmt&gt;&lt;/m_precDefaultYear&gt;&lt;m_precDefaultQuarter&gt;&lt;m_bNumberIsYear val=&quot;0&quot;/&gt;&lt;m_strFormatTime&gt;Q%5&lt;/m_strFormatTime&gt;&lt;m_yearfmt&gt;&lt;begin val=&quot;0&quot;/&gt;&lt;end val=&quot;4&quot;/&gt;&lt;/m_yearfmt&gt;&lt;/m_precDefaultQuarter&gt;&lt;m_precDefaultMonth&gt;&lt;m_yearfmt&gt;&lt;begin val=&quot;0&quot;/&gt;&lt;end val=&quot;4&quot;/&gt;&lt;/m_yearfmt&gt;&lt;/m_precDefaultMonth&gt;&lt;m_precDefaultWeek&gt;&lt;m_bNumberIsYear val=&quot;0&quot;/&gt;&lt;m_strFormatTime&gt;%4&lt;/m_strFormatTime&gt;&lt;m_yearfmt&gt;&lt;begin val=&quot;0&quot;/&gt;&lt;end val=&quot;4&quot;/&gt;&lt;/m_yearfmt&gt;&lt;/m_precDefaultWeek&gt;&lt;m_precDefaultDay&gt;&lt;m_bNumberIsYear val=&quot;0&quot;/&gt;&lt;m_strFormatTime&gt;%#d&lt;/m_strFormatTime&gt;&lt;m_yearfmt&gt;&lt;begin val=&quot;0&quot;/&gt;&lt;end val=&quot;4&quot;/&gt;&lt;/m_yearfmt&gt;&lt;/m_precDefaultDay&gt;&lt;m_mruColor&gt;&lt;m_vecMRU length=&quot;0&quot;/&gt;&lt;/m_mruColor&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YHOZQUn7LUyJ_J7rk8.gWg"/>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LM1BXXmjqVmgazcCeVAig"/>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Yw5ZgNFpLDe3E.Ihxm2IFw"/>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Xof1wZIs5pc30uT5FRjVSQ"/>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0rd1b662QKiNb9sgBSqxmw"/>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duuGWKqnBDJl_V8_mL4ACA"/>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K5yq4aI5RrlpRpSVkz7z8Q"/>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OtTwxEJALtiGTCJqUz.yiQ"/>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K6gvh8.z6a450qwFMe3pcg"/>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4NQhodDzT24IMwJAdNxkv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adcbGkZ9bj7slqxpspCiNw"/>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op6ZJbNfFHOktVQApqglTw"/>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vOsaoSgwd57nWb9zkWUM.g"/>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2N8v26BjTBEgWNxTjz0UQA"/>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s7mUtetENV5POsd3v.GI1Q"/>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onyJ4JcoedcUe7Wihf9TsQ"/>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cbAsKeV9sgP1GPqzjlsyIA"/>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7FOfh32nERNbxS2UOVlMRg"/>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nsWlaC_IR_22DHo2QOBfRw"/>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J_R8sVyJfTN1lZP3OUbdp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5UcL2vEN.JLRdg.GgLZqOg"/>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zgr6yCEXFFSHOvk20M4FVg"/>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cOi5QJAq05ly4HTf3SU6MA"/>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QqsB5fApLUWD8eGubXh94A"/>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QqsB5fApLUWD8eGubXh94A"/>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rSDLspEjYU2Y9t7vSk1Jew"/>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Vhagbb5d70yyzrz3HaBnk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D2MLu.UOXUKq3.bwpViWs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IpMZMsTNp0.iPsJIwCfN7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QqsB5fApLUWD8eGubXh94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QqsB5fApLUWD8eGubXh94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ZyIyBwAQWMj8mcbbTKssr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qBhALyJ0vAAPkNV1L4.sB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MYZTQGBLaPZm2uWS9THo0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O.yfLdi1DJlMdwKGRs4pO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C_itee5XEmo_Acu573Wcj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CzVrWcL9qV1Ga5wzg6PxT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LwZHKLikD3TLROcymmxiw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1PMy3EId.q.xImMkojcjY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ykflhM19COUrDTrLEIUkQ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ceBZ7I.f_qEJtdLUsfjTg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rNqa2sxXvccwQGLP1xOt1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8oCzH4gfBSGhVM_M98F_Ng"/>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DjnohzS8XSRNxRs3W0pe5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tfaytXHDr0ppdNNzGq.Lm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3Srqs0fMOLXEEeUTKOIYQg"/>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ZFhIsSmdXbd6eza9ZxX1G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0W7t4qPoMUVOX.G3_KyY.g"/>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qEJ2ItnxPHv_vPa1dTU6uA"/>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ufr02uDfzb12KeMMf1Vhv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giVRw8cM2g2pCxv.UPnyw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by2OC8FKh8Nf95tIQyEfMg"/>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OKkVjH7xjWlX2zxey3vvV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Ls9ynzTXok9_aOJLEPfvE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00Ankczr1Ea.iWl8cVSdYQ"/>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Ij7lQ0TMbOw7kbH7u9c.UQ"/>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JLNgUzqo1Sd3jagxVhpeWA"/>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FMlqh5c6nHS0_OSoz2nNlg"/>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Z9hj5cpZ0.tuqSN1t4MJXQ"/>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PBprSpqrAJBEIbj9CmqKFg"/>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KlkQkck_AxihRjIhMlGh0w"/>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JmBrr7KqcpnOQbVpuieEyQ"/>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_9uaHnh20Bd20cSa_9qM2w"/>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xT6SuoKUXObWvS2IaZNY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_qePh7NOfxhJz5DANPJ__w"/>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5pSYWGkE6dgCdrudV8u3w"/>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wpISrH4dILaYrF_c_xHWvg"/>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0x0LHCKMlE8JepNT4l354w"/>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0Twf_zfbqwyGEd8qUUyO3w"/>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Gu8oTsB3kgJeaDfoARrx.g"/>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KjTRrpHZxZl1M5YHWsxs9g"/>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puoZuY36fdDMvlWrCD0jXA"/>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SCa_LxDkWEJkWmBlJUupdw"/>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vDUNhf1JlrSWb7MpWQupQ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1vReqyn2G9tCcQPqyBOhiw"/>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vtPomISdQX.6qq.c6jVG9w"/>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n82XjGsK.A5L_qvhBVn5IQ"/>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G7HBqpVZ6GDxv3B.KF1ZqA"/>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emwEVNfL8GR8DntlrNvBCw"/>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sZq5G8.Pzidp7olGgipJTQ"/>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iBJ2.HBpJl2AR.cO2mSPaw"/>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kTlRassn33W_i8xcPspqZw"/>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sleDoc.Uwm2VWeuoBHraJQ"/>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TOKcEL7QTuCwgFVAF_z8H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51ym6R5gKzjTlbrJGGhPlQ"/>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WXb1ldxx7T3bXVBMDaYVzg"/>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vhwkZxMnHzywI1XoC299EQ"/>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mlUBpBmbtnVu.tHur4SFPA"/>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2p.aOhQf50BDXSeR44UVOw"/>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qtLgK9eauQPyQOK.eFhnqA"/>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V37._RNeGR327G0_AkPm7g"/>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rxxeSrtlUURx22CC4w9ytg"/>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NZG41xlrDzlX.qqA8qLUUg"/>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kFuMdKolL3pNDn0_UNpFQ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QqsB5fApLUWD8eGubXh94A"/>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JjH0q72J0wI_1MxdYk.y9g"/>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k8mX5F6pY18zVrdBryIBng"/>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bMFFrz6Ih.dkbiMA_jQ6A"/>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tb3pwJL84BieZPRNjNvixg"/>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z6vhAG7Sx9OwOo98dEDsng"/>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nVo_51BAc.4krXjfV1uz8Q"/>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LjHRaQaJBD8vuZnq6h4DVg"/>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f96LHvdxf.cC6Il_3tqczA"/>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iqeNAslbKl3MUPSVmCZrIg"/>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C2VeJELW1IwuYobndX0c9g"/>
</p:tagLst>
</file>

<file path=ppt/theme/theme1.xml><?xml version="1.0" encoding="utf-8"?>
<a:theme xmlns:a="http://schemas.openxmlformats.org/drawingml/2006/main" name="Office">
  <a:themeElements>
    <a:clrScheme name="Consulting University">
      <a:dk1>
        <a:sysClr val="windowText" lastClr="000000"/>
      </a:dk1>
      <a:lt1>
        <a:sysClr val="window" lastClr="FFFFFF"/>
      </a:lt1>
      <a:dk2>
        <a:srgbClr val="464646"/>
      </a:dk2>
      <a:lt2>
        <a:srgbClr val="E6E6E6"/>
      </a:lt2>
      <a:accent1>
        <a:srgbClr val="AAAAAA"/>
      </a:accent1>
      <a:accent2>
        <a:srgbClr val="003D66"/>
      </a:accent2>
      <a:accent3>
        <a:srgbClr val="413E46"/>
      </a:accent3>
      <a:accent4>
        <a:srgbClr val="DCDCDC"/>
      </a:accent4>
      <a:accent5>
        <a:srgbClr val="5B9BD5"/>
      </a:accent5>
      <a:accent6>
        <a:srgbClr val="70AD47"/>
      </a:accent6>
      <a:hlink>
        <a:srgbClr val="003D66"/>
      </a:hlink>
      <a:folHlink>
        <a:srgbClr val="DCDCDC"/>
      </a:folHlink>
    </a:clrScheme>
    <a:fontScheme name="KMG">
      <a:majorFont>
        <a:latin typeface="Lato"/>
        <a:ea typeface=""/>
        <a:cs typeface=""/>
      </a:majorFont>
      <a:minorFont>
        <a:latin typeface="Lato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0</TotalTime>
  <Words>2644</Words>
  <Application>Microsoft Office PowerPoint</Application>
  <PresentationFormat>Breitbild</PresentationFormat>
  <Paragraphs>545</Paragraphs>
  <Slides>23</Slides>
  <Notes>3</Notes>
  <HiddenSlides>0</HiddenSlides>
  <MMClips>0</MMClips>
  <ScaleCrop>false</ScaleCrop>
  <HeadingPairs>
    <vt:vector size="8" baseType="variant">
      <vt:variant>
        <vt:lpstr>Verwendete Schriftarten</vt:lpstr>
      </vt:variant>
      <vt:variant>
        <vt:i4>6</vt:i4>
      </vt:variant>
      <vt:variant>
        <vt:lpstr>Design</vt:lpstr>
      </vt:variant>
      <vt:variant>
        <vt:i4>1</vt:i4>
      </vt:variant>
      <vt:variant>
        <vt:lpstr>Eingebettete OLE-Server</vt:lpstr>
      </vt:variant>
      <vt:variant>
        <vt:i4>1</vt:i4>
      </vt:variant>
      <vt:variant>
        <vt:lpstr>Folientitel</vt:lpstr>
      </vt:variant>
      <vt:variant>
        <vt:i4>23</vt:i4>
      </vt:variant>
    </vt:vector>
  </HeadingPairs>
  <TitlesOfParts>
    <vt:vector size="31" baseType="lpstr">
      <vt:lpstr>Arial</vt:lpstr>
      <vt:lpstr>Calibri</vt:lpstr>
      <vt:lpstr>Colus</vt:lpstr>
      <vt:lpstr>Lato</vt:lpstr>
      <vt:lpstr>Lato Light</vt:lpstr>
      <vt:lpstr>Wingdings</vt:lpstr>
      <vt:lpstr>Office</vt:lpstr>
      <vt:lpstr>think-cell Folie</vt:lpstr>
      <vt:lpstr>PowerPoint-Präsentation</vt:lpstr>
      <vt:lpstr>PowerPoint-Präsentation</vt:lpstr>
      <vt:lpstr>Anleitung: Wie kopiere ich Folien und Folieninhalte richtig in meine Präsentation?</vt:lpstr>
      <vt:lpstr>Mittels Restrukturierungsprojekt soll die Unternehmensvorgabe von 6%-EBIT-Marge für die Tochtergesellschaft ABC GmbH erreicht werden</vt:lpstr>
      <vt:lpstr>Notwendige Gesamtergebnis der Restrukturierung aktuell in Abstimmung mit Controlling – Schätzwert bei ca. 9 Mio. €</vt:lpstr>
      <vt:lpstr>Projektsteckbrief – Projekt Phönix Teilprojekt 1: Filialnetz </vt:lpstr>
      <vt:lpstr>Stakeholder-Analyse</vt:lpstr>
      <vt:lpstr>Stakeholder-Analyse</vt:lpstr>
      <vt:lpstr>Projektkapazitäten</vt:lpstr>
      <vt:lpstr>Projektorganisation</vt:lpstr>
      <vt:lpstr>Projektrollen &amp; Verantwortlichkeiten</vt:lpstr>
      <vt:lpstr>Gremien &amp; Verantwortlichkeiten</vt:lpstr>
      <vt:lpstr>Regeltermine im Projekt</vt:lpstr>
      <vt:lpstr>Weitere Beispiele für mögliche Regeltermine im Projekt</vt:lpstr>
      <vt:lpstr>Arbeitsmodus &amp; Projektregeln</vt:lpstr>
      <vt:lpstr>Projektplan Projekt „Phönix“</vt:lpstr>
      <vt:lpstr>Regeln zur Beschlussfassung im Steuerkreis sind definiert und abgestimmt</vt:lpstr>
      <vt:lpstr>Agenda</vt:lpstr>
      <vt:lpstr>Das Gesamtprojekt kann maximal den Status der Teilprojekte ausweisen</vt:lpstr>
      <vt:lpstr>Entscheidungs- und Eskalationsreihenfolge für das Projekt Phönix</vt:lpstr>
      <vt:lpstr>Projekt-Reporting „Phönix“ Teilprojekt: XY</vt:lpstr>
      <vt:lpstr>Projektabbruchkriterien wurden für das Projekt für jede Phase definiert</vt:lpstr>
      <vt:lpstr>Entscheidungsanträge für „Gremium“ am tt.mm.jjjj</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arktourist</dc:title>
  <dc:creator>www.Consulting-University.com</dc:creator>
  <cp:lastModifiedBy>Frederick King</cp:lastModifiedBy>
  <cp:revision>1</cp:revision>
  <cp:lastPrinted>2020-11-13T11:13:00Z</cp:lastPrinted>
  <dcterms:created xsi:type="dcterms:W3CDTF">2020-11-05T08:13:33Z</dcterms:created>
  <dcterms:modified xsi:type="dcterms:W3CDTF">2021-05-12T09:21:39Z</dcterms:modified>
</cp:coreProperties>
</file>